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8" r:id="rId4"/>
    <p:sldMasterId id="2147483674" r:id="rId5"/>
    <p:sldMasterId id="2147483663" r:id="rId6"/>
    <p:sldMasterId id="2147483660" r:id="rId7"/>
    <p:sldMasterId id="2147483734" r:id="rId8"/>
  </p:sldMasterIdLst>
  <p:notesMasterIdLst>
    <p:notesMasterId r:id="rId27"/>
  </p:notesMasterIdLst>
  <p:handoutMasterIdLst>
    <p:handoutMasterId r:id="rId28"/>
  </p:handoutMasterIdLst>
  <p:sldIdLst>
    <p:sldId id="437" r:id="rId9"/>
    <p:sldId id="436" r:id="rId10"/>
    <p:sldId id="451" r:id="rId11"/>
    <p:sldId id="661" r:id="rId12"/>
    <p:sldId id="463" r:id="rId13"/>
    <p:sldId id="660" r:id="rId14"/>
    <p:sldId id="462" r:id="rId15"/>
    <p:sldId id="452" r:id="rId16"/>
    <p:sldId id="454" r:id="rId17"/>
    <p:sldId id="459" r:id="rId18"/>
    <p:sldId id="458" r:id="rId19"/>
    <p:sldId id="453" r:id="rId20"/>
    <p:sldId id="662" r:id="rId21"/>
    <p:sldId id="460" r:id="rId22"/>
    <p:sldId id="461" r:id="rId23"/>
    <p:sldId id="456" r:id="rId24"/>
    <p:sldId id="450" r:id="rId25"/>
    <p:sldId id="397" r:id="rId26"/>
  </p:sldIdLst>
  <p:sldSz cx="12192000" cy="6858000"/>
  <p:notesSz cx="6858000" cy="9144000"/>
  <p:custDataLst>
    <p:tags r:id="rId2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51" userDrawn="1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4178" userDrawn="1">
          <p15:clr>
            <a:srgbClr val="A4A3A4"/>
          </p15:clr>
        </p15:guide>
        <p15:guide id="4" orient="horz" pos="4088" userDrawn="1">
          <p15:clr>
            <a:srgbClr val="A4A3A4"/>
          </p15:clr>
        </p15:guide>
        <p15:guide id="5" pos="7446" userDrawn="1">
          <p15:clr>
            <a:srgbClr val="A4A3A4"/>
          </p15:clr>
        </p15:guide>
        <p15:guide id="6" pos="75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nis Reinhard" initials="JR" lastIdx="8" clrIdx="0">
    <p:extLst>
      <p:ext uri="{19B8F6BF-5375-455C-9EA6-DF929625EA0E}">
        <p15:presenceInfo xmlns:p15="http://schemas.microsoft.com/office/powerpoint/2012/main" userId="S::JReinhard@ffemuenchen.onmicrosoft.com::ed3e62e6-4a56-4398-baf5-cde521ff7c7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04C69"/>
    <a:srgbClr val="2F4B68"/>
    <a:srgbClr val="7D7D7D"/>
    <a:srgbClr val="FFFFFF"/>
    <a:srgbClr val="6A97C4"/>
    <a:srgbClr val="356CA5"/>
    <a:srgbClr val="F2F2F2"/>
    <a:srgbClr val="3D84BD"/>
    <a:srgbClr val="8AB5E1"/>
    <a:srgbClr val="8121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988" autoAdjust="0"/>
    <p:restoredTop sz="92125" autoAdjust="0"/>
  </p:normalViewPr>
  <p:slideViewPr>
    <p:cSldViewPr snapToGrid="0" showGuides="1">
      <p:cViewPr varScale="1">
        <p:scale>
          <a:sx n="151" d="100"/>
          <a:sy n="151" d="100"/>
        </p:scale>
        <p:origin x="8460" y="108"/>
      </p:cViewPr>
      <p:guideLst>
        <p:guide pos="551"/>
        <p:guide orient="horz" pos="2160"/>
        <p:guide orient="horz" pos="4178"/>
        <p:guide orient="horz" pos="4088"/>
        <p:guide pos="7446"/>
        <p:guide pos="7537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382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6/11/relationships/changesInfo" Target="changesInfos/changesInfo1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is Reinhard" userId="ed3e62e6-4a56-4398-baf5-cde521ff7c7f" providerId="ADAL" clId="{03342EEB-5B14-42C8-8B06-0571A6EDDCF9}"/>
    <pc:docChg chg="custSel modSld">
      <pc:chgData name="Janis Reinhard" userId="ed3e62e6-4a56-4398-baf5-cde521ff7c7f" providerId="ADAL" clId="{03342EEB-5B14-42C8-8B06-0571A6EDDCF9}" dt="2021-09-03T12:48:43.019" v="13"/>
      <pc:docMkLst>
        <pc:docMk/>
      </pc:docMkLst>
      <pc:sldChg chg="modSp mod addCm modCm">
        <pc:chgData name="Janis Reinhard" userId="ed3e62e6-4a56-4398-baf5-cde521ff7c7f" providerId="ADAL" clId="{03342EEB-5B14-42C8-8B06-0571A6EDDCF9}" dt="2021-09-03T12:48:43.019" v="13"/>
        <pc:sldMkLst>
          <pc:docMk/>
          <pc:sldMk cId="3213435743" sldId="461"/>
        </pc:sldMkLst>
        <pc:spChg chg="mod">
          <ac:chgData name="Janis Reinhard" userId="ed3e62e6-4a56-4398-baf5-cde521ff7c7f" providerId="ADAL" clId="{03342EEB-5B14-42C8-8B06-0571A6EDDCF9}" dt="2021-09-03T12:44:08.527" v="4" actId="20577"/>
          <ac:spMkLst>
            <pc:docMk/>
            <pc:sldMk cId="3213435743" sldId="461"/>
            <ac:spMk id="7" creationId="{00000000-0000-0000-0000-000000000000}"/>
          </ac:spMkLst>
        </pc:spChg>
      </pc:sldChg>
      <pc:sldChg chg="addCm modCm">
        <pc:chgData name="Janis Reinhard" userId="ed3e62e6-4a56-4398-baf5-cde521ff7c7f" providerId="ADAL" clId="{03342EEB-5B14-42C8-8B06-0571A6EDDCF9}" dt="2021-09-03T12:37:59.643" v="2"/>
        <pc:sldMkLst>
          <pc:docMk/>
          <pc:sldMk cId="1754242523" sldId="661"/>
        </pc:sldMkLst>
      </pc:sldChg>
    </pc:docChg>
  </pc:docChgLst>
  <pc:docChgLst>
    <pc:chgData name="Andreas Weiss" userId="86f45389-4ad9-4ce5-aa22-b4e8edefafef" providerId="ADAL" clId="{BF97026B-F088-444A-89FB-4AB1CE25C7E5}"/>
    <pc:docChg chg="undo redo custSel addSld delSld modSld sldOrd">
      <pc:chgData name="Andreas Weiss" userId="86f45389-4ad9-4ce5-aa22-b4e8edefafef" providerId="ADAL" clId="{BF97026B-F088-444A-89FB-4AB1CE25C7E5}" dt="2021-09-06T12:22:49.231" v="8725" actId="20577"/>
      <pc:docMkLst>
        <pc:docMk/>
      </pc:docMkLst>
      <pc:sldChg chg="addSp delSp modSp mod">
        <pc:chgData name="Andreas Weiss" userId="86f45389-4ad9-4ce5-aa22-b4e8edefafef" providerId="ADAL" clId="{BF97026B-F088-444A-89FB-4AB1CE25C7E5}" dt="2021-09-06T11:55:40.602" v="8564" actId="21"/>
        <pc:sldMkLst>
          <pc:docMk/>
          <pc:sldMk cId="2634588679" sldId="397"/>
        </pc:sldMkLst>
        <pc:picChg chg="add del mod">
          <ac:chgData name="Andreas Weiss" userId="86f45389-4ad9-4ce5-aa22-b4e8edefafef" providerId="ADAL" clId="{BF97026B-F088-444A-89FB-4AB1CE25C7E5}" dt="2021-09-06T11:55:40.602" v="8564" actId="21"/>
          <ac:picMkLst>
            <pc:docMk/>
            <pc:sldMk cId="2634588679" sldId="397"/>
            <ac:picMk id="5" creationId="{47CAC750-BCFA-42B0-A12D-0E7F0F42D311}"/>
          </ac:picMkLst>
        </pc:picChg>
        <pc:picChg chg="add del mod">
          <ac:chgData name="Andreas Weiss" userId="86f45389-4ad9-4ce5-aa22-b4e8edefafef" providerId="ADAL" clId="{BF97026B-F088-444A-89FB-4AB1CE25C7E5}" dt="2021-09-06T11:55:40.602" v="8564" actId="21"/>
          <ac:picMkLst>
            <pc:docMk/>
            <pc:sldMk cId="2634588679" sldId="397"/>
            <ac:picMk id="6" creationId="{412C4B25-05FA-49C7-8BA2-80D10F0959FE}"/>
          </ac:picMkLst>
        </pc:picChg>
      </pc:sldChg>
      <pc:sldChg chg="modSp mod">
        <pc:chgData name="Andreas Weiss" userId="86f45389-4ad9-4ce5-aa22-b4e8edefafef" providerId="ADAL" clId="{BF97026B-F088-444A-89FB-4AB1CE25C7E5}" dt="2021-09-06T07:17:31.117" v="7141" actId="6549"/>
        <pc:sldMkLst>
          <pc:docMk/>
          <pc:sldMk cId="945469111" sldId="436"/>
        </pc:sldMkLst>
        <pc:spChg chg="mod">
          <ac:chgData name="Andreas Weiss" userId="86f45389-4ad9-4ce5-aa22-b4e8edefafef" providerId="ADAL" clId="{BF97026B-F088-444A-89FB-4AB1CE25C7E5}" dt="2021-09-06T07:17:31.117" v="7141" actId="6549"/>
          <ac:spMkLst>
            <pc:docMk/>
            <pc:sldMk cId="945469111" sldId="436"/>
            <ac:spMk id="12" creationId="{00000000-0000-0000-0000-000000000000}"/>
          </ac:spMkLst>
        </pc:spChg>
      </pc:sldChg>
      <pc:sldChg chg="addSp delSp modSp add del mod">
        <pc:chgData name="Andreas Weiss" userId="86f45389-4ad9-4ce5-aa22-b4e8edefafef" providerId="ADAL" clId="{BF97026B-F088-444A-89FB-4AB1CE25C7E5}" dt="2021-09-06T11:55:54.262" v="8568" actId="478"/>
        <pc:sldMkLst>
          <pc:docMk/>
          <pc:sldMk cId="3678350623" sldId="450"/>
        </pc:sldMkLst>
        <pc:picChg chg="add del mod">
          <ac:chgData name="Andreas Weiss" userId="86f45389-4ad9-4ce5-aa22-b4e8edefafef" providerId="ADAL" clId="{BF97026B-F088-444A-89FB-4AB1CE25C7E5}" dt="2021-09-06T11:55:25.618" v="8555"/>
          <ac:picMkLst>
            <pc:docMk/>
            <pc:sldMk cId="3678350623" sldId="450"/>
            <ac:picMk id="6" creationId="{E898506E-9348-4147-A89D-3078ECFA705A}"/>
          </ac:picMkLst>
        </pc:picChg>
        <pc:picChg chg="add del mod">
          <ac:chgData name="Andreas Weiss" userId="86f45389-4ad9-4ce5-aa22-b4e8edefafef" providerId="ADAL" clId="{BF97026B-F088-444A-89FB-4AB1CE25C7E5}" dt="2021-09-06T11:55:33.602" v="8560"/>
          <ac:picMkLst>
            <pc:docMk/>
            <pc:sldMk cId="3678350623" sldId="450"/>
            <ac:picMk id="9" creationId="{60112BE8-5243-40BE-A082-31CB17EF0AD7}"/>
          </ac:picMkLst>
        </pc:picChg>
        <pc:picChg chg="add del">
          <ac:chgData name="Andreas Weiss" userId="86f45389-4ad9-4ce5-aa22-b4e8edefafef" providerId="ADAL" clId="{BF97026B-F088-444A-89FB-4AB1CE25C7E5}" dt="2021-09-06T11:55:54.262" v="8568" actId="478"/>
          <ac:picMkLst>
            <pc:docMk/>
            <pc:sldMk cId="3678350623" sldId="450"/>
            <ac:picMk id="10" creationId="{00000000-0000-0000-0000-000000000000}"/>
          </ac:picMkLst>
        </pc:picChg>
        <pc:picChg chg="add mod">
          <ac:chgData name="Andreas Weiss" userId="86f45389-4ad9-4ce5-aa22-b4e8edefafef" providerId="ADAL" clId="{BF97026B-F088-444A-89FB-4AB1CE25C7E5}" dt="2021-09-06T11:55:48.463" v="8566" actId="1076"/>
          <ac:picMkLst>
            <pc:docMk/>
            <pc:sldMk cId="3678350623" sldId="450"/>
            <ac:picMk id="11" creationId="{5652CBF4-9552-48E0-938D-6530ED0DDEEC}"/>
          </ac:picMkLst>
        </pc:picChg>
        <pc:picChg chg="add mod">
          <ac:chgData name="Andreas Weiss" userId="86f45389-4ad9-4ce5-aa22-b4e8edefafef" providerId="ADAL" clId="{BF97026B-F088-444A-89FB-4AB1CE25C7E5}" dt="2021-09-06T11:55:52.513" v="8567" actId="1076"/>
          <ac:picMkLst>
            <pc:docMk/>
            <pc:sldMk cId="3678350623" sldId="450"/>
            <ac:picMk id="12" creationId="{971FFAB8-CED2-4038-B506-5770C905DEEE}"/>
          </ac:picMkLst>
        </pc:picChg>
      </pc:sldChg>
      <pc:sldChg chg="modSp mod">
        <pc:chgData name="Andreas Weiss" userId="86f45389-4ad9-4ce5-aa22-b4e8edefafef" providerId="ADAL" clId="{BF97026B-F088-444A-89FB-4AB1CE25C7E5}" dt="2021-09-06T07:17:27.302" v="7140" actId="166"/>
        <pc:sldMkLst>
          <pc:docMk/>
          <pc:sldMk cId="1121911430" sldId="451"/>
        </pc:sldMkLst>
        <pc:spChg chg="mod">
          <ac:chgData name="Andreas Weiss" userId="86f45389-4ad9-4ce5-aa22-b4e8edefafef" providerId="ADAL" clId="{BF97026B-F088-444A-89FB-4AB1CE25C7E5}" dt="2021-09-06T07:17:24.828" v="7139" actId="6549"/>
          <ac:spMkLst>
            <pc:docMk/>
            <pc:sldMk cId="1121911430" sldId="451"/>
            <ac:spMk id="12" creationId="{00000000-0000-0000-0000-000000000000}"/>
          </ac:spMkLst>
        </pc:spChg>
        <pc:spChg chg="ord">
          <ac:chgData name="Andreas Weiss" userId="86f45389-4ad9-4ce5-aa22-b4e8edefafef" providerId="ADAL" clId="{BF97026B-F088-444A-89FB-4AB1CE25C7E5}" dt="2021-09-06T07:17:27.302" v="7140" actId="166"/>
          <ac:spMkLst>
            <pc:docMk/>
            <pc:sldMk cId="1121911430" sldId="451"/>
            <ac:spMk id="25" creationId="{210189DB-FEEA-4C9C-8D4B-5D55E4479F5F}"/>
          </ac:spMkLst>
        </pc:spChg>
      </pc:sldChg>
      <pc:sldChg chg="modSp mod">
        <pc:chgData name="Andreas Weiss" userId="86f45389-4ad9-4ce5-aa22-b4e8edefafef" providerId="ADAL" clId="{BF97026B-F088-444A-89FB-4AB1CE25C7E5}" dt="2021-09-06T07:17:17.861" v="7137" actId="166"/>
        <pc:sldMkLst>
          <pc:docMk/>
          <pc:sldMk cId="1130403955" sldId="452"/>
        </pc:sldMkLst>
        <pc:spChg chg="mod">
          <ac:chgData name="Andreas Weiss" userId="86f45389-4ad9-4ce5-aa22-b4e8edefafef" providerId="ADAL" clId="{BF97026B-F088-444A-89FB-4AB1CE25C7E5}" dt="2021-09-06T07:17:15.030" v="7136" actId="6549"/>
          <ac:spMkLst>
            <pc:docMk/>
            <pc:sldMk cId="1130403955" sldId="452"/>
            <ac:spMk id="12" creationId="{00000000-0000-0000-0000-000000000000}"/>
          </ac:spMkLst>
        </pc:spChg>
        <pc:spChg chg="ord">
          <ac:chgData name="Andreas Weiss" userId="86f45389-4ad9-4ce5-aa22-b4e8edefafef" providerId="ADAL" clId="{BF97026B-F088-444A-89FB-4AB1CE25C7E5}" dt="2021-09-06T07:17:17.861" v="7137" actId="166"/>
          <ac:spMkLst>
            <pc:docMk/>
            <pc:sldMk cId="1130403955" sldId="452"/>
            <ac:spMk id="25" creationId="{B7D4144F-36AE-4847-9484-9EA2C532ABF6}"/>
          </ac:spMkLst>
        </pc:spChg>
      </pc:sldChg>
      <pc:sldChg chg="modSp mod">
        <pc:chgData name="Andreas Weiss" userId="86f45389-4ad9-4ce5-aa22-b4e8edefafef" providerId="ADAL" clId="{BF97026B-F088-444A-89FB-4AB1CE25C7E5}" dt="2021-09-06T07:17:07.743" v="7134" actId="6549"/>
        <pc:sldMkLst>
          <pc:docMk/>
          <pc:sldMk cId="1187050586" sldId="453"/>
        </pc:sldMkLst>
        <pc:spChg chg="mod">
          <ac:chgData name="Andreas Weiss" userId="86f45389-4ad9-4ce5-aa22-b4e8edefafef" providerId="ADAL" clId="{BF97026B-F088-444A-89FB-4AB1CE25C7E5}" dt="2021-09-06T07:17:07.743" v="7134" actId="6549"/>
          <ac:spMkLst>
            <pc:docMk/>
            <pc:sldMk cId="1187050586" sldId="453"/>
            <ac:spMk id="12" creationId="{00000000-0000-0000-0000-000000000000}"/>
          </ac:spMkLst>
        </pc:spChg>
      </pc:sldChg>
      <pc:sldChg chg="addSp delSp modSp mod modAnim">
        <pc:chgData name="Andreas Weiss" userId="86f45389-4ad9-4ce5-aa22-b4e8edefafef" providerId="ADAL" clId="{BF97026B-F088-444A-89FB-4AB1CE25C7E5}" dt="2021-09-06T12:13:16.026" v="8587" actId="20577"/>
        <pc:sldMkLst>
          <pc:docMk/>
          <pc:sldMk cId="3884833749" sldId="454"/>
        </pc:sldMkLst>
        <pc:spChg chg="add del mod">
          <ac:chgData name="Andreas Weiss" userId="86f45389-4ad9-4ce5-aa22-b4e8edefafef" providerId="ADAL" clId="{BF97026B-F088-444A-89FB-4AB1CE25C7E5}" dt="2021-09-02T12:22:33.729" v="2939" actId="478"/>
          <ac:spMkLst>
            <pc:docMk/>
            <pc:sldMk cId="3884833749" sldId="454"/>
            <ac:spMk id="2" creationId="{400C53B6-D840-484D-AC8A-7975C72A8331}"/>
          </ac:spMkLst>
        </pc:spChg>
        <pc:spChg chg="del">
          <ac:chgData name="Andreas Weiss" userId="86f45389-4ad9-4ce5-aa22-b4e8edefafef" providerId="ADAL" clId="{BF97026B-F088-444A-89FB-4AB1CE25C7E5}" dt="2021-09-02T12:25:16.507" v="3083" actId="478"/>
          <ac:spMkLst>
            <pc:docMk/>
            <pc:sldMk cId="3884833749" sldId="454"/>
            <ac:spMk id="5" creationId="{00000000-0000-0000-0000-000000000000}"/>
          </ac:spMkLst>
        </pc:spChg>
        <pc:spChg chg="mod">
          <ac:chgData name="Andreas Weiss" userId="86f45389-4ad9-4ce5-aa22-b4e8edefafef" providerId="ADAL" clId="{BF97026B-F088-444A-89FB-4AB1CE25C7E5}" dt="2021-09-06T12:13:16.026" v="8587" actId="20577"/>
          <ac:spMkLst>
            <pc:docMk/>
            <pc:sldMk cId="3884833749" sldId="454"/>
            <ac:spMk id="6" creationId="{00000000-0000-0000-0000-000000000000}"/>
          </ac:spMkLst>
        </pc:spChg>
        <pc:spChg chg="del">
          <ac:chgData name="Andreas Weiss" userId="86f45389-4ad9-4ce5-aa22-b4e8edefafef" providerId="ADAL" clId="{BF97026B-F088-444A-89FB-4AB1CE25C7E5}" dt="2021-09-02T09:31:44.981" v="2463" actId="478"/>
          <ac:spMkLst>
            <pc:docMk/>
            <pc:sldMk cId="3884833749" sldId="454"/>
            <ac:spMk id="7" creationId="{00000000-0000-0000-0000-000000000000}"/>
          </ac:spMkLst>
        </pc:spChg>
        <pc:spChg chg="add del mod">
          <ac:chgData name="Andreas Weiss" userId="86f45389-4ad9-4ce5-aa22-b4e8edefafef" providerId="ADAL" clId="{BF97026B-F088-444A-89FB-4AB1CE25C7E5}" dt="2021-09-02T12:24:33.749" v="3041" actId="478"/>
          <ac:spMkLst>
            <pc:docMk/>
            <pc:sldMk cId="3884833749" sldId="454"/>
            <ac:spMk id="9" creationId="{84F41B7A-6424-4536-848C-DDE78AB8A63D}"/>
          </ac:spMkLst>
        </pc:spChg>
        <pc:spChg chg="add del mod">
          <ac:chgData name="Andreas Weiss" userId="86f45389-4ad9-4ce5-aa22-b4e8edefafef" providerId="ADAL" clId="{BF97026B-F088-444A-89FB-4AB1CE25C7E5}" dt="2021-09-02T09:34:23.834" v="2531" actId="21"/>
          <ac:spMkLst>
            <pc:docMk/>
            <pc:sldMk cId="3884833749" sldId="454"/>
            <ac:spMk id="9" creationId="{9B9484C3-464A-4DAE-BF38-3B6B2228D0A9}"/>
          </ac:spMkLst>
        </pc:spChg>
        <pc:spChg chg="add del mod">
          <ac:chgData name="Andreas Weiss" userId="86f45389-4ad9-4ce5-aa22-b4e8edefafef" providerId="ADAL" clId="{BF97026B-F088-444A-89FB-4AB1CE25C7E5}" dt="2021-09-02T09:34:23.834" v="2531" actId="21"/>
          <ac:spMkLst>
            <pc:docMk/>
            <pc:sldMk cId="3884833749" sldId="454"/>
            <ac:spMk id="10" creationId="{8210459D-2595-4CE2-B818-70CD75A31F46}"/>
          </ac:spMkLst>
        </pc:spChg>
        <pc:spChg chg="add mod">
          <ac:chgData name="Andreas Weiss" userId="86f45389-4ad9-4ce5-aa22-b4e8edefafef" providerId="ADAL" clId="{BF97026B-F088-444A-89FB-4AB1CE25C7E5}" dt="2021-09-02T12:28:51.986" v="3264" actId="1036"/>
          <ac:spMkLst>
            <pc:docMk/>
            <pc:sldMk cId="3884833749" sldId="454"/>
            <ac:spMk id="11" creationId="{255C6789-482B-485A-AEF2-9C8EA82B5CB2}"/>
          </ac:spMkLst>
        </pc:spChg>
        <pc:spChg chg="add del mod">
          <ac:chgData name="Andreas Weiss" userId="86f45389-4ad9-4ce5-aa22-b4e8edefafef" providerId="ADAL" clId="{BF97026B-F088-444A-89FB-4AB1CE25C7E5}" dt="2021-09-02T09:34:23.834" v="2531" actId="21"/>
          <ac:spMkLst>
            <pc:docMk/>
            <pc:sldMk cId="3884833749" sldId="454"/>
            <ac:spMk id="11" creationId="{D4F271BB-42F7-40E2-A236-A8EF32B1F811}"/>
          </ac:spMkLst>
        </pc:spChg>
        <pc:spChg chg="mod">
          <ac:chgData name="Andreas Weiss" userId="86f45389-4ad9-4ce5-aa22-b4e8edefafef" providerId="ADAL" clId="{BF97026B-F088-444A-89FB-4AB1CE25C7E5}" dt="2021-09-02T09:34:13.723" v="2530" actId="1076"/>
          <ac:spMkLst>
            <pc:docMk/>
            <pc:sldMk cId="3884833749" sldId="454"/>
            <ac:spMk id="17" creationId="{8E74B6BD-AF5B-478C-A9F4-D46DE392A22B}"/>
          </ac:spMkLst>
        </pc:spChg>
        <pc:spChg chg="mod">
          <ac:chgData name="Andreas Weiss" userId="86f45389-4ad9-4ce5-aa22-b4e8edefafef" providerId="ADAL" clId="{BF97026B-F088-444A-89FB-4AB1CE25C7E5}" dt="2021-09-02T09:34:13.723" v="2530" actId="1076"/>
          <ac:spMkLst>
            <pc:docMk/>
            <pc:sldMk cId="3884833749" sldId="454"/>
            <ac:spMk id="21" creationId="{155E02A4-79EF-463A-87CB-161FBA84DB5C}"/>
          </ac:spMkLst>
        </pc:spChg>
        <pc:spChg chg="add del mod">
          <ac:chgData name="Andreas Weiss" userId="86f45389-4ad9-4ce5-aa22-b4e8edefafef" providerId="ADAL" clId="{BF97026B-F088-444A-89FB-4AB1CE25C7E5}" dt="2021-09-02T09:34:23.834" v="2531" actId="21"/>
          <ac:spMkLst>
            <pc:docMk/>
            <pc:sldMk cId="3884833749" sldId="454"/>
            <ac:spMk id="22" creationId="{B7AEE1C4-08BD-455D-9552-5CD9DC05A892}"/>
          </ac:spMkLst>
        </pc:spChg>
        <pc:spChg chg="mod">
          <ac:chgData name="Andreas Weiss" userId="86f45389-4ad9-4ce5-aa22-b4e8edefafef" providerId="ADAL" clId="{BF97026B-F088-444A-89FB-4AB1CE25C7E5}" dt="2021-09-02T09:34:13.723" v="2530" actId="1076"/>
          <ac:spMkLst>
            <pc:docMk/>
            <pc:sldMk cId="3884833749" sldId="454"/>
            <ac:spMk id="25" creationId="{67CFB7A8-72E8-4884-B4A2-0FCA41E29F8E}"/>
          </ac:spMkLst>
        </pc:spChg>
        <pc:spChg chg="mod">
          <ac:chgData name="Andreas Weiss" userId="86f45389-4ad9-4ce5-aa22-b4e8edefafef" providerId="ADAL" clId="{BF97026B-F088-444A-89FB-4AB1CE25C7E5}" dt="2021-09-02T09:34:13.723" v="2530" actId="1076"/>
          <ac:spMkLst>
            <pc:docMk/>
            <pc:sldMk cId="3884833749" sldId="454"/>
            <ac:spMk id="29" creationId="{E8EEC925-16E3-4B1B-86DD-0E43A744A1AE}"/>
          </ac:spMkLst>
        </pc:spChg>
        <pc:spChg chg="add del mod">
          <ac:chgData name="Andreas Weiss" userId="86f45389-4ad9-4ce5-aa22-b4e8edefafef" providerId="ADAL" clId="{BF97026B-F088-444A-89FB-4AB1CE25C7E5}" dt="2021-09-02T09:34:23.834" v="2531" actId="21"/>
          <ac:spMkLst>
            <pc:docMk/>
            <pc:sldMk cId="3884833749" sldId="454"/>
            <ac:spMk id="30" creationId="{60B69D41-E8DD-44EE-98CF-80F41D3F0AC0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31" creationId="{20585AF7-BE4F-4746-9012-1FB988F4827B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32" creationId="{3EB17252-01CE-4F83-8AEC-E68FE4D8F6B3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33" creationId="{19754F53-541F-45B3-BDF1-F5997D3ACFCC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34" creationId="{99046C09-EDB2-44ED-ADCA-25B4FC158B2A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36" creationId="{A69A6654-4AF1-4CDA-875C-64E428DF5DCC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37" creationId="{4597C3DF-1B93-4B83-BEF0-763A1E10254B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38" creationId="{6B953EDD-28C4-4C1E-A25F-F9D33D18D857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39" creationId="{8090AAD1-6812-4B33-BE74-F66126E56247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40" creationId="{BAA35C38-B965-4F41-BC02-5F84CD456940}"/>
          </ac:spMkLst>
        </pc:spChg>
        <pc:spChg chg="add mod">
          <ac:chgData name="Andreas Weiss" userId="86f45389-4ad9-4ce5-aa22-b4e8edefafef" providerId="ADAL" clId="{BF97026B-F088-444A-89FB-4AB1CE25C7E5}" dt="2021-09-02T12:20:24.579" v="2819" actId="164"/>
          <ac:spMkLst>
            <pc:docMk/>
            <pc:sldMk cId="3884833749" sldId="454"/>
            <ac:spMk id="41" creationId="{34DD34E7-C36D-439A-ABEE-EA240465612A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42" creationId="{9BAF87D6-2176-43E3-85A2-EA4CF67D2F98}"/>
          </ac:spMkLst>
        </pc:spChg>
        <pc:spChg chg="add mod">
          <ac:chgData name="Andreas Weiss" userId="86f45389-4ad9-4ce5-aa22-b4e8edefafef" providerId="ADAL" clId="{BF97026B-F088-444A-89FB-4AB1CE25C7E5}" dt="2021-09-02T12:21:26.184" v="2859" actId="1038"/>
          <ac:spMkLst>
            <pc:docMk/>
            <pc:sldMk cId="3884833749" sldId="454"/>
            <ac:spMk id="43" creationId="{46000126-56A9-45F7-B8A0-C4530B4D838A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44" creationId="{22AE139E-23C5-401D-9128-78119ED218A5}"/>
          </ac:spMkLst>
        </pc:spChg>
        <pc:spChg chg="add mod">
          <ac:chgData name="Andreas Weiss" userId="86f45389-4ad9-4ce5-aa22-b4e8edefafef" providerId="ADAL" clId="{BF97026B-F088-444A-89FB-4AB1CE25C7E5}" dt="2021-09-02T12:21:26.184" v="2859" actId="1038"/>
          <ac:spMkLst>
            <pc:docMk/>
            <pc:sldMk cId="3884833749" sldId="454"/>
            <ac:spMk id="45" creationId="{A208E8E0-AA63-41CC-B4A5-4F32CABF1425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46" creationId="{739C61FC-CAAB-47AC-9266-1D8743944E62}"/>
          </ac:spMkLst>
        </pc:spChg>
        <pc:spChg chg="add mod">
          <ac:chgData name="Andreas Weiss" userId="86f45389-4ad9-4ce5-aa22-b4e8edefafef" providerId="ADAL" clId="{BF97026B-F088-444A-89FB-4AB1CE25C7E5}" dt="2021-09-02T12:21:26.184" v="2859" actId="1038"/>
          <ac:spMkLst>
            <pc:docMk/>
            <pc:sldMk cId="3884833749" sldId="454"/>
            <ac:spMk id="47" creationId="{61E107A2-5BE9-4737-BA16-CD15D361D3BF}"/>
          </ac:spMkLst>
        </pc:spChg>
        <pc:spChg chg="add mod">
          <ac:chgData name="Andreas Weiss" userId="86f45389-4ad9-4ce5-aa22-b4e8edefafef" providerId="ADAL" clId="{BF97026B-F088-444A-89FB-4AB1CE25C7E5}" dt="2021-09-02T12:21:26.184" v="2859" actId="1038"/>
          <ac:spMkLst>
            <pc:docMk/>
            <pc:sldMk cId="3884833749" sldId="454"/>
            <ac:spMk id="48" creationId="{48DF80CE-0748-4A4E-9EA1-F33E9E9A4472}"/>
          </ac:spMkLst>
        </pc:spChg>
        <pc:spChg chg="add mod">
          <ac:chgData name="Andreas Weiss" userId="86f45389-4ad9-4ce5-aa22-b4e8edefafef" providerId="ADAL" clId="{BF97026B-F088-444A-89FB-4AB1CE25C7E5}" dt="2021-09-02T12:20:24.579" v="2819" actId="164"/>
          <ac:spMkLst>
            <pc:docMk/>
            <pc:sldMk cId="3884833749" sldId="454"/>
            <ac:spMk id="49" creationId="{4B818038-26D4-4217-B757-728B787848AE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50" creationId="{CAAEC1EE-3530-4E41-9AED-1A07D2D5622C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51" creationId="{1BD4CBD9-52E4-4027-ABE9-CFDE3C4A8722}"/>
          </ac:spMkLst>
        </pc:spChg>
        <pc:spChg chg="add mod">
          <ac:chgData name="Andreas Weiss" userId="86f45389-4ad9-4ce5-aa22-b4e8edefafef" providerId="ADAL" clId="{BF97026B-F088-444A-89FB-4AB1CE25C7E5}" dt="2021-09-02T12:21:26.184" v="2859" actId="1038"/>
          <ac:spMkLst>
            <pc:docMk/>
            <pc:sldMk cId="3884833749" sldId="454"/>
            <ac:spMk id="52" creationId="{73576A03-A364-406B-9F46-5ED9B3935F4C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53" creationId="{AC1BECF0-3F17-42BA-B0BE-35D0990D1448}"/>
          </ac:spMkLst>
        </pc:spChg>
        <pc:spChg chg="add mod">
          <ac:chgData name="Andreas Weiss" userId="86f45389-4ad9-4ce5-aa22-b4e8edefafef" providerId="ADAL" clId="{BF97026B-F088-444A-89FB-4AB1CE25C7E5}" dt="2021-09-02T12:21:26.184" v="2859" actId="1038"/>
          <ac:spMkLst>
            <pc:docMk/>
            <pc:sldMk cId="3884833749" sldId="454"/>
            <ac:spMk id="54" creationId="{6E8995D4-AEA5-4EE8-A780-5879D54B3008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55" creationId="{39610B7A-B33B-4CB6-9A91-934F89EBE1F2}"/>
          </ac:spMkLst>
        </pc:spChg>
        <pc:spChg chg="add mod">
          <ac:chgData name="Andreas Weiss" userId="86f45389-4ad9-4ce5-aa22-b4e8edefafef" providerId="ADAL" clId="{BF97026B-F088-444A-89FB-4AB1CE25C7E5}" dt="2021-09-02T12:26:49.959" v="3104" actId="1038"/>
          <ac:spMkLst>
            <pc:docMk/>
            <pc:sldMk cId="3884833749" sldId="454"/>
            <ac:spMk id="57" creationId="{9D50BAB2-9DBE-4C29-9E4E-4ABD037CF679}"/>
          </ac:spMkLst>
        </pc:spChg>
        <pc:spChg chg="add mod">
          <ac:chgData name="Andreas Weiss" userId="86f45389-4ad9-4ce5-aa22-b4e8edefafef" providerId="ADAL" clId="{BF97026B-F088-444A-89FB-4AB1CE25C7E5}" dt="2021-09-02T12:20:24.579" v="2819" actId="164"/>
          <ac:spMkLst>
            <pc:docMk/>
            <pc:sldMk cId="3884833749" sldId="454"/>
            <ac:spMk id="58" creationId="{A2C80BF8-7C88-4265-BD3A-1E57D82EEB6B}"/>
          </ac:spMkLst>
        </pc:spChg>
        <pc:spChg chg="add mod">
          <ac:chgData name="Andreas Weiss" userId="86f45389-4ad9-4ce5-aa22-b4e8edefafef" providerId="ADAL" clId="{BF97026B-F088-444A-89FB-4AB1CE25C7E5}" dt="2021-09-02T12:21:26.184" v="2859" actId="1038"/>
          <ac:spMkLst>
            <pc:docMk/>
            <pc:sldMk cId="3884833749" sldId="454"/>
            <ac:spMk id="59" creationId="{0836D92B-11B3-4BCF-8995-B6BE081EFE17}"/>
          </ac:spMkLst>
        </pc:spChg>
        <pc:spChg chg="add mod">
          <ac:chgData name="Andreas Weiss" userId="86f45389-4ad9-4ce5-aa22-b4e8edefafef" providerId="ADAL" clId="{BF97026B-F088-444A-89FB-4AB1CE25C7E5}" dt="2021-09-02T12:21:26.184" v="2859" actId="1038"/>
          <ac:spMkLst>
            <pc:docMk/>
            <pc:sldMk cId="3884833749" sldId="454"/>
            <ac:spMk id="60" creationId="{B8402158-4AB6-4484-9634-62980E986C43}"/>
          </ac:spMkLst>
        </pc:spChg>
        <pc:spChg chg="add del mod">
          <ac:chgData name="Andreas Weiss" userId="86f45389-4ad9-4ce5-aa22-b4e8edefafef" providerId="ADAL" clId="{BF97026B-F088-444A-89FB-4AB1CE25C7E5}" dt="2021-09-02T12:24:31.875" v="3040" actId="478"/>
          <ac:spMkLst>
            <pc:docMk/>
            <pc:sldMk cId="3884833749" sldId="454"/>
            <ac:spMk id="61" creationId="{E8194F37-3847-439D-A4AC-A92C70202787}"/>
          </ac:spMkLst>
        </pc:spChg>
        <pc:spChg chg="add mod">
          <ac:chgData name="Andreas Weiss" userId="86f45389-4ad9-4ce5-aa22-b4e8edefafef" providerId="ADAL" clId="{BF97026B-F088-444A-89FB-4AB1CE25C7E5}" dt="2021-09-02T12:28:51.986" v="3264" actId="1036"/>
          <ac:spMkLst>
            <pc:docMk/>
            <pc:sldMk cId="3884833749" sldId="454"/>
            <ac:spMk id="66" creationId="{C4A980E2-C336-42CC-81C6-75949C6764C1}"/>
          </ac:spMkLst>
        </pc:spChg>
        <pc:spChg chg="add mod">
          <ac:chgData name="Andreas Weiss" userId="86f45389-4ad9-4ce5-aa22-b4e8edefafef" providerId="ADAL" clId="{BF97026B-F088-444A-89FB-4AB1CE25C7E5}" dt="2021-09-06T06:57:37.753" v="7058" actId="1037"/>
          <ac:spMkLst>
            <pc:docMk/>
            <pc:sldMk cId="3884833749" sldId="454"/>
            <ac:spMk id="67" creationId="{A83BD281-BF19-4830-A8AA-715FDD4B798E}"/>
          </ac:spMkLst>
        </pc:spChg>
        <pc:spChg chg="add mod">
          <ac:chgData name="Andreas Weiss" userId="86f45389-4ad9-4ce5-aa22-b4e8edefafef" providerId="ADAL" clId="{BF97026B-F088-444A-89FB-4AB1CE25C7E5}" dt="2021-09-02T12:28:51.986" v="3264" actId="1036"/>
          <ac:spMkLst>
            <pc:docMk/>
            <pc:sldMk cId="3884833749" sldId="454"/>
            <ac:spMk id="68" creationId="{5F50AE2E-93D9-427E-99D4-583410B081CF}"/>
          </ac:spMkLst>
        </pc:spChg>
        <pc:spChg chg="add mod">
          <ac:chgData name="Andreas Weiss" userId="86f45389-4ad9-4ce5-aa22-b4e8edefafef" providerId="ADAL" clId="{BF97026B-F088-444A-89FB-4AB1CE25C7E5}" dt="2021-09-02T12:28:51.986" v="3264" actId="1036"/>
          <ac:spMkLst>
            <pc:docMk/>
            <pc:sldMk cId="3884833749" sldId="454"/>
            <ac:spMk id="69" creationId="{CDAB0EE0-8B7C-4E0B-9171-E861280C0E3A}"/>
          </ac:spMkLst>
        </pc:spChg>
        <pc:spChg chg="add mod">
          <ac:chgData name="Andreas Weiss" userId="86f45389-4ad9-4ce5-aa22-b4e8edefafef" providerId="ADAL" clId="{BF97026B-F088-444A-89FB-4AB1CE25C7E5}" dt="2021-09-02T12:29:39.455" v="3266" actId="164"/>
          <ac:spMkLst>
            <pc:docMk/>
            <pc:sldMk cId="3884833749" sldId="454"/>
            <ac:spMk id="70" creationId="{7699BFFC-115A-49F6-85A2-F1F10D9D0EB2}"/>
          </ac:spMkLst>
        </pc:spChg>
        <pc:spChg chg="add mod">
          <ac:chgData name="Andreas Weiss" userId="86f45389-4ad9-4ce5-aa22-b4e8edefafef" providerId="ADAL" clId="{BF97026B-F088-444A-89FB-4AB1CE25C7E5}" dt="2021-09-02T12:29:39.455" v="3266" actId="164"/>
          <ac:spMkLst>
            <pc:docMk/>
            <pc:sldMk cId="3884833749" sldId="454"/>
            <ac:spMk id="71" creationId="{4FB10193-8191-45EA-A3AB-D70E4859AF89}"/>
          </ac:spMkLst>
        </pc:spChg>
        <pc:spChg chg="add mod">
          <ac:chgData name="Andreas Weiss" userId="86f45389-4ad9-4ce5-aa22-b4e8edefafef" providerId="ADAL" clId="{BF97026B-F088-444A-89FB-4AB1CE25C7E5}" dt="2021-09-02T12:29:39.455" v="3266" actId="164"/>
          <ac:spMkLst>
            <pc:docMk/>
            <pc:sldMk cId="3884833749" sldId="454"/>
            <ac:spMk id="72" creationId="{DAA67F6A-225A-435D-9715-39F67C1451FC}"/>
          </ac:spMkLst>
        </pc:spChg>
        <pc:spChg chg="mod">
          <ac:chgData name="Andreas Weiss" userId="86f45389-4ad9-4ce5-aa22-b4e8edefafef" providerId="ADAL" clId="{BF97026B-F088-444A-89FB-4AB1CE25C7E5}" dt="2021-09-02T12:29:39.455" v="3266" actId="164"/>
          <ac:spMkLst>
            <pc:docMk/>
            <pc:sldMk cId="3884833749" sldId="454"/>
            <ac:spMk id="78" creationId="{704017F5-A1E4-4D03-A1DE-AAFDBF0FE42C}"/>
          </ac:spMkLst>
        </pc:spChg>
        <pc:spChg chg="mod">
          <ac:chgData name="Andreas Weiss" userId="86f45389-4ad9-4ce5-aa22-b4e8edefafef" providerId="ADAL" clId="{BF97026B-F088-444A-89FB-4AB1CE25C7E5}" dt="2021-09-02T12:29:39.455" v="3266" actId="164"/>
          <ac:spMkLst>
            <pc:docMk/>
            <pc:sldMk cId="3884833749" sldId="454"/>
            <ac:spMk id="82" creationId="{900CC8C5-7EAD-46BA-BD48-46BC39C1A550}"/>
          </ac:spMkLst>
        </pc:spChg>
        <pc:spChg chg="add mod">
          <ac:chgData name="Andreas Weiss" userId="86f45389-4ad9-4ce5-aa22-b4e8edefafef" providerId="ADAL" clId="{BF97026B-F088-444A-89FB-4AB1CE25C7E5}" dt="2021-09-02T12:29:39.455" v="3266" actId="164"/>
          <ac:spMkLst>
            <pc:docMk/>
            <pc:sldMk cId="3884833749" sldId="454"/>
            <ac:spMk id="83" creationId="{38F55887-B9FE-4222-8C82-4838343D7E3A}"/>
          </ac:spMkLst>
        </pc:spChg>
        <pc:spChg chg="mod">
          <ac:chgData name="Andreas Weiss" userId="86f45389-4ad9-4ce5-aa22-b4e8edefafef" providerId="ADAL" clId="{BF97026B-F088-444A-89FB-4AB1CE25C7E5}" dt="2021-09-02T12:30:04.335" v="3270" actId="165"/>
          <ac:spMkLst>
            <pc:docMk/>
            <pc:sldMk cId="3884833749" sldId="454"/>
            <ac:spMk id="86" creationId="{DAD625D6-D003-42E9-A5BC-771B1685FFA2}"/>
          </ac:spMkLst>
        </pc:spChg>
        <pc:spChg chg="mod">
          <ac:chgData name="Andreas Weiss" userId="86f45389-4ad9-4ce5-aa22-b4e8edefafef" providerId="ADAL" clId="{BF97026B-F088-444A-89FB-4AB1CE25C7E5}" dt="2021-09-02T12:30:04.335" v="3270" actId="165"/>
          <ac:spMkLst>
            <pc:docMk/>
            <pc:sldMk cId="3884833749" sldId="454"/>
            <ac:spMk id="90" creationId="{833D5998-728B-4F1D-AD9F-80241BB591F6}"/>
          </ac:spMkLst>
        </pc:spChg>
        <pc:spChg chg="add mod">
          <ac:chgData name="Andreas Weiss" userId="86f45389-4ad9-4ce5-aa22-b4e8edefafef" providerId="ADAL" clId="{BF97026B-F088-444A-89FB-4AB1CE25C7E5}" dt="2021-09-02T12:30:07.890" v="3271" actId="164"/>
          <ac:spMkLst>
            <pc:docMk/>
            <pc:sldMk cId="3884833749" sldId="454"/>
            <ac:spMk id="91" creationId="{16E293F1-7696-4071-9857-492A2F871399}"/>
          </ac:spMkLst>
        </pc:spChg>
        <pc:grpChg chg="add del mod">
          <ac:chgData name="Andreas Weiss" userId="86f45389-4ad9-4ce5-aa22-b4e8edefafef" providerId="ADAL" clId="{BF97026B-F088-444A-89FB-4AB1CE25C7E5}" dt="2021-09-02T12:22:26.772" v="2912" actId="165"/>
          <ac:grpSpMkLst>
            <pc:docMk/>
            <pc:sldMk cId="3884833749" sldId="454"/>
            <ac:grpSpMk id="3" creationId="{011129F4-605B-43F6-A084-BB6062432014}"/>
          </ac:grpSpMkLst>
        </pc:grpChg>
        <pc:grpChg chg="add mod">
          <ac:chgData name="Andreas Weiss" userId="86f45389-4ad9-4ce5-aa22-b4e8edefafef" providerId="ADAL" clId="{BF97026B-F088-444A-89FB-4AB1CE25C7E5}" dt="2021-09-02T12:26:49.959" v="3104" actId="1038"/>
          <ac:grpSpMkLst>
            <pc:docMk/>
            <pc:sldMk cId="3884833749" sldId="454"/>
            <ac:grpSpMk id="4" creationId="{68393064-4DAC-425E-A0AE-0C0367938B47}"/>
          </ac:grpSpMkLst>
        </pc:grpChg>
        <pc:grpChg chg="add mod">
          <ac:chgData name="Andreas Weiss" userId="86f45389-4ad9-4ce5-aa22-b4e8edefafef" providerId="ADAL" clId="{BF97026B-F088-444A-89FB-4AB1CE25C7E5}" dt="2021-09-02T12:28:51.986" v="3264" actId="1036"/>
          <ac:grpSpMkLst>
            <pc:docMk/>
            <pc:sldMk cId="3884833749" sldId="454"/>
            <ac:grpSpMk id="10" creationId="{C25D48E4-2E27-4F27-800B-AC4E045C8DC1}"/>
          </ac:grpSpMkLst>
        </pc:grpChg>
        <pc:grpChg chg="add mod">
          <ac:chgData name="Andreas Weiss" userId="86f45389-4ad9-4ce5-aa22-b4e8edefafef" providerId="ADAL" clId="{BF97026B-F088-444A-89FB-4AB1CE25C7E5}" dt="2021-09-02T12:29:39.455" v="3266" actId="164"/>
          <ac:grpSpMkLst>
            <pc:docMk/>
            <pc:sldMk cId="3884833749" sldId="454"/>
            <ac:grpSpMk id="12" creationId="{08FD63F6-D57E-4BF8-A201-9D022A565D17}"/>
          </ac:grpSpMkLst>
        </pc:grpChg>
        <pc:grpChg chg="add del mod">
          <ac:chgData name="Andreas Weiss" userId="86f45389-4ad9-4ce5-aa22-b4e8edefafef" providerId="ADAL" clId="{BF97026B-F088-444A-89FB-4AB1CE25C7E5}" dt="2021-09-02T12:30:04.335" v="3270" actId="165"/>
          <ac:grpSpMkLst>
            <pc:docMk/>
            <pc:sldMk cId="3884833749" sldId="454"/>
            <ac:grpSpMk id="13" creationId="{EDBDF974-3A22-4BDF-B2F0-F7D42B185B83}"/>
          </ac:grpSpMkLst>
        </pc:grpChg>
        <pc:grpChg chg="add mod">
          <ac:chgData name="Andreas Weiss" userId="86f45389-4ad9-4ce5-aa22-b4e8edefafef" providerId="ADAL" clId="{BF97026B-F088-444A-89FB-4AB1CE25C7E5}" dt="2021-09-02T12:30:07.890" v="3271" actId="164"/>
          <ac:grpSpMkLst>
            <pc:docMk/>
            <pc:sldMk cId="3884833749" sldId="454"/>
            <ac:grpSpMk id="14" creationId="{954A1108-8947-4879-A3D4-9B1CE50E1EF1}"/>
          </ac:grpSpMkLst>
        </pc:grpChg>
        <pc:grpChg chg="add del mod">
          <ac:chgData name="Andreas Weiss" userId="86f45389-4ad9-4ce5-aa22-b4e8edefafef" providerId="ADAL" clId="{BF97026B-F088-444A-89FB-4AB1CE25C7E5}" dt="2021-09-02T09:34:23.834" v="2531" actId="21"/>
          <ac:grpSpMkLst>
            <pc:docMk/>
            <pc:sldMk cId="3884833749" sldId="454"/>
            <ac:grpSpMk id="16" creationId="{40EEC549-1032-48F5-B77C-993B8FF40504}"/>
          </ac:grpSpMkLst>
        </pc:grpChg>
        <pc:grpChg chg="mod">
          <ac:chgData name="Andreas Weiss" userId="86f45389-4ad9-4ce5-aa22-b4e8edefafef" providerId="ADAL" clId="{BF97026B-F088-444A-89FB-4AB1CE25C7E5}" dt="2021-09-02T09:34:13.723" v="2530" actId="1076"/>
          <ac:grpSpMkLst>
            <pc:docMk/>
            <pc:sldMk cId="3884833749" sldId="454"/>
            <ac:grpSpMk id="19" creationId="{2341CFD3-CC6F-4CAD-995E-F9F93DB91F4D}"/>
          </ac:grpSpMkLst>
        </pc:grpChg>
        <pc:grpChg chg="add del mod">
          <ac:chgData name="Andreas Weiss" userId="86f45389-4ad9-4ce5-aa22-b4e8edefafef" providerId="ADAL" clId="{BF97026B-F088-444A-89FB-4AB1CE25C7E5}" dt="2021-09-02T09:34:23.834" v="2531" actId="21"/>
          <ac:grpSpMkLst>
            <pc:docMk/>
            <pc:sldMk cId="3884833749" sldId="454"/>
            <ac:grpSpMk id="24" creationId="{CE39FD49-4D76-4AB0-8B36-D709EEF806D0}"/>
          </ac:grpSpMkLst>
        </pc:grpChg>
        <pc:grpChg chg="mod">
          <ac:chgData name="Andreas Weiss" userId="86f45389-4ad9-4ce5-aa22-b4e8edefafef" providerId="ADAL" clId="{BF97026B-F088-444A-89FB-4AB1CE25C7E5}" dt="2021-09-02T09:34:13.723" v="2530" actId="1076"/>
          <ac:grpSpMkLst>
            <pc:docMk/>
            <pc:sldMk cId="3884833749" sldId="454"/>
            <ac:grpSpMk id="27" creationId="{3527AB8F-7588-465B-8FF9-E629B4B5C44F}"/>
          </ac:grpSpMkLst>
        </pc:grpChg>
        <pc:grpChg chg="add mod">
          <ac:chgData name="Andreas Weiss" userId="86f45389-4ad9-4ce5-aa22-b4e8edefafef" providerId="ADAL" clId="{BF97026B-F088-444A-89FB-4AB1CE25C7E5}" dt="2021-09-02T12:29:39.455" v="3266" actId="164"/>
          <ac:grpSpMkLst>
            <pc:docMk/>
            <pc:sldMk cId="3884833749" sldId="454"/>
            <ac:grpSpMk id="77" creationId="{677654FB-B333-4D04-A1DA-3AEF96FE0265}"/>
          </ac:grpSpMkLst>
        </pc:grpChg>
        <pc:grpChg chg="mod">
          <ac:chgData name="Andreas Weiss" userId="86f45389-4ad9-4ce5-aa22-b4e8edefafef" providerId="ADAL" clId="{BF97026B-F088-444A-89FB-4AB1CE25C7E5}" dt="2021-09-02T12:29:39.455" v="3266" actId="164"/>
          <ac:grpSpMkLst>
            <pc:docMk/>
            <pc:sldMk cId="3884833749" sldId="454"/>
            <ac:grpSpMk id="80" creationId="{DA9B1F5A-BAEF-468D-AFEA-4F817FBC1D8C}"/>
          </ac:grpSpMkLst>
        </pc:grpChg>
        <pc:grpChg chg="add mod topLvl">
          <ac:chgData name="Andreas Weiss" userId="86f45389-4ad9-4ce5-aa22-b4e8edefafef" providerId="ADAL" clId="{BF97026B-F088-444A-89FB-4AB1CE25C7E5}" dt="2021-09-02T12:30:07.890" v="3271" actId="164"/>
          <ac:grpSpMkLst>
            <pc:docMk/>
            <pc:sldMk cId="3884833749" sldId="454"/>
            <ac:grpSpMk id="85" creationId="{EC1AC1EE-17A8-4D00-A2F6-F616FA9B816B}"/>
          </ac:grpSpMkLst>
        </pc:grpChg>
        <pc:grpChg chg="mod">
          <ac:chgData name="Andreas Weiss" userId="86f45389-4ad9-4ce5-aa22-b4e8edefafef" providerId="ADAL" clId="{BF97026B-F088-444A-89FB-4AB1CE25C7E5}" dt="2021-09-02T12:30:04.335" v="3270" actId="165"/>
          <ac:grpSpMkLst>
            <pc:docMk/>
            <pc:sldMk cId="3884833749" sldId="454"/>
            <ac:grpSpMk id="88" creationId="{AE3DF7E3-6C7F-42F2-8365-3333BEA7B5BE}"/>
          </ac:grpSpMkLst>
        </pc:grpChg>
        <pc:picChg chg="add del mod">
          <ac:chgData name="Andreas Weiss" userId="86f45389-4ad9-4ce5-aa22-b4e8edefafef" providerId="ADAL" clId="{BF97026B-F088-444A-89FB-4AB1CE25C7E5}" dt="2021-09-02T09:34:23.834" v="2531" actId="21"/>
          <ac:picMkLst>
            <pc:docMk/>
            <pc:sldMk cId="3884833749" sldId="454"/>
            <ac:picMk id="14" creationId="{D2A3D63B-220F-4E59-BA39-00BE81FD799D}"/>
          </ac:picMkLst>
        </pc:picChg>
        <pc:picChg chg="add del mod">
          <ac:chgData name="Andreas Weiss" userId="86f45389-4ad9-4ce5-aa22-b4e8edefafef" providerId="ADAL" clId="{BF97026B-F088-444A-89FB-4AB1CE25C7E5}" dt="2021-09-02T09:34:23.834" v="2531" actId="21"/>
          <ac:picMkLst>
            <pc:docMk/>
            <pc:sldMk cId="3884833749" sldId="454"/>
            <ac:picMk id="15" creationId="{AE77AAED-BA52-4D41-A503-C873087ACD28}"/>
          </ac:picMkLst>
        </pc:picChg>
        <pc:picChg chg="mod">
          <ac:chgData name="Andreas Weiss" userId="86f45389-4ad9-4ce5-aa22-b4e8edefafef" providerId="ADAL" clId="{BF97026B-F088-444A-89FB-4AB1CE25C7E5}" dt="2021-09-02T09:34:13.723" v="2530" actId="1076"/>
          <ac:picMkLst>
            <pc:docMk/>
            <pc:sldMk cId="3884833749" sldId="454"/>
            <ac:picMk id="18" creationId="{2AC98880-B57D-4F7C-9025-51C42ADCB60A}"/>
          </ac:picMkLst>
        </pc:picChg>
        <pc:picChg chg="mod">
          <ac:chgData name="Andreas Weiss" userId="86f45389-4ad9-4ce5-aa22-b4e8edefafef" providerId="ADAL" clId="{BF97026B-F088-444A-89FB-4AB1CE25C7E5}" dt="2021-09-02T09:34:13.723" v="2530" actId="1076"/>
          <ac:picMkLst>
            <pc:docMk/>
            <pc:sldMk cId="3884833749" sldId="454"/>
            <ac:picMk id="20" creationId="{36E960B2-8AEE-4242-91FC-A55BAD2254A0}"/>
          </ac:picMkLst>
        </pc:picChg>
        <pc:picChg chg="mod">
          <ac:chgData name="Andreas Weiss" userId="86f45389-4ad9-4ce5-aa22-b4e8edefafef" providerId="ADAL" clId="{BF97026B-F088-444A-89FB-4AB1CE25C7E5}" dt="2021-09-02T09:34:13.723" v="2530" actId="1076"/>
          <ac:picMkLst>
            <pc:docMk/>
            <pc:sldMk cId="3884833749" sldId="454"/>
            <ac:picMk id="26" creationId="{99D21F41-F39E-4DED-BF6B-DD8B5CF05F92}"/>
          </ac:picMkLst>
        </pc:picChg>
        <pc:picChg chg="mod">
          <ac:chgData name="Andreas Weiss" userId="86f45389-4ad9-4ce5-aa22-b4e8edefafef" providerId="ADAL" clId="{BF97026B-F088-444A-89FB-4AB1CE25C7E5}" dt="2021-09-02T09:34:13.723" v="2530" actId="1076"/>
          <ac:picMkLst>
            <pc:docMk/>
            <pc:sldMk cId="3884833749" sldId="454"/>
            <ac:picMk id="28" creationId="{7ADF359F-9923-4A6E-9108-C99162DD5AAD}"/>
          </ac:picMkLst>
        </pc:picChg>
        <pc:picChg chg="add mod topLvl">
          <ac:chgData name="Andreas Weiss" userId="86f45389-4ad9-4ce5-aa22-b4e8edefafef" providerId="ADAL" clId="{BF97026B-F088-444A-89FB-4AB1CE25C7E5}" dt="2021-09-02T12:28:51.986" v="3264" actId="1036"/>
          <ac:picMkLst>
            <pc:docMk/>
            <pc:sldMk cId="3884833749" sldId="454"/>
            <ac:picMk id="62" creationId="{14F3EF85-745C-4EA3-A6BE-4FE18D2CFA53}"/>
          </ac:picMkLst>
        </pc:picChg>
        <pc:picChg chg="add mod topLvl">
          <ac:chgData name="Andreas Weiss" userId="86f45389-4ad9-4ce5-aa22-b4e8edefafef" providerId="ADAL" clId="{BF97026B-F088-444A-89FB-4AB1CE25C7E5}" dt="2021-09-02T12:28:51.986" v="3264" actId="1036"/>
          <ac:picMkLst>
            <pc:docMk/>
            <pc:sldMk cId="3884833749" sldId="454"/>
            <ac:picMk id="63" creationId="{052EF5E9-D6C4-403A-8544-4827DB0F097C}"/>
          </ac:picMkLst>
        </pc:picChg>
        <pc:picChg chg="add mod topLvl">
          <ac:chgData name="Andreas Weiss" userId="86f45389-4ad9-4ce5-aa22-b4e8edefafef" providerId="ADAL" clId="{BF97026B-F088-444A-89FB-4AB1CE25C7E5}" dt="2021-09-02T12:28:51.986" v="3264" actId="1036"/>
          <ac:picMkLst>
            <pc:docMk/>
            <pc:sldMk cId="3884833749" sldId="454"/>
            <ac:picMk id="64" creationId="{70EBF8B5-FD3A-4890-8E93-C5C2F7E51B0A}"/>
          </ac:picMkLst>
        </pc:picChg>
        <pc:picChg chg="add mod topLvl">
          <ac:chgData name="Andreas Weiss" userId="86f45389-4ad9-4ce5-aa22-b4e8edefafef" providerId="ADAL" clId="{BF97026B-F088-444A-89FB-4AB1CE25C7E5}" dt="2021-09-02T12:28:51.986" v="3264" actId="1036"/>
          <ac:picMkLst>
            <pc:docMk/>
            <pc:sldMk cId="3884833749" sldId="454"/>
            <ac:picMk id="65" creationId="{24553189-8EF8-45EE-9EE8-78D50788A5FA}"/>
          </ac:picMkLst>
        </pc:picChg>
        <pc:picChg chg="add mod">
          <ac:chgData name="Andreas Weiss" userId="86f45389-4ad9-4ce5-aa22-b4e8edefafef" providerId="ADAL" clId="{BF97026B-F088-444A-89FB-4AB1CE25C7E5}" dt="2021-09-02T12:29:39.455" v="3266" actId="164"/>
          <ac:picMkLst>
            <pc:docMk/>
            <pc:sldMk cId="3884833749" sldId="454"/>
            <ac:picMk id="75" creationId="{8F647270-F5EC-4CA6-AD23-238EDC0E0A27}"/>
          </ac:picMkLst>
        </pc:picChg>
        <pc:picChg chg="add mod">
          <ac:chgData name="Andreas Weiss" userId="86f45389-4ad9-4ce5-aa22-b4e8edefafef" providerId="ADAL" clId="{BF97026B-F088-444A-89FB-4AB1CE25C7E5}" dt="2021-09-02T12:29:39.455" v="3266" actId="164"/>
          <ac:picMkLst>
            <pc:docMk/>
            <pc:sldMk cId="3884833749" sldId="454"/>
            <ac:picMk id="76" creationId="{424B288B-5EFF-4F3E-A95F-10236D040D39}"/>
          </ac:picMkLst>
        </pc:picChg>
        <pc:picChg chg="mod">
          <ac:chgData name="Andreas Weiss" userId="86f45389-4ad9-4ce5-aa22-b4e8edefafef" providerId="ADAL" clId="{BF97026B-F088-444A-89FB-4AB1CE25C7E5}" dt="2021-09-02T12:29:39.455" v="3266" actId="164"/>
          <ac:picMkLst>
            <pc:docMk/>
            <pc:sldMk cId="3884833749" sldId="454"/>
            <ac:picMk id="79" creationId="{C88CB92E-695E-4F11-A62E-29AFFAC13E50}"/>
          </ac:picMkLst>
        </pc:picChg>
        <pc:picChg chg="mod">
          <ac:chgData name="Andreas Weiss" userId="86f45389-4ad9-4ce5-aa22-b4e8edefafef" providerId="ADAL" clId="{BF97026B-F088-444A-89FB-4AB1CE25C7E5}" dt="2021-09-02T12:29:39.455" v="3266" actId="164"/>
          <ac:picMkLst>
            <pc:docMk/>
            <pc:sldMk cId="3884833749" sldId="454"/>
            <ac:picMk id="81" creationId="{C38171C7-3CED-4911-A3B4-4F47CBDF5179}"/>
          </ac:picMkLst>
        </pc:picChg>
        <pc:picChg chg="mod">
          <ac:chgData name="Andreas Weiss" userId="86f45389-4ad9-4ce5-aa22-b4e8edefafef" providerId="ADAL" clId="{BF97026B-F088-444A-89FB-4AB1CE25C7E5}" dt="2021-09-02T12:30:04.335" v="3270" actId="165"/>
          <ac:picMkLst>
            <pc:docMk/>
            <pc:sldMk cId="3884833749" sldId="454"/>
            <ac:picMk id="87" creationId="{E4C82764-DA36-4653-AB86-D484AF655508}"/>
          </ac:picMkLst>
        </pc:picChg>
        <pc:picChg chg="mod">
          <ac:chgData name="Andreas Weiss" userId="86f45389-4ad9-4ce5-aa22-b4e8edefafef" providerId="ADAL" clId="{BF97026B-F088-444A-89FB-4AB1CE25C7E5}" dt="2021-09-02T12:30:04.335" v="3270" actId="165"/>
          <ac:picMkLst>
            <pc:docMk/>
            <pc:sldMk cId="3884833749" sldId="454"/>
            <ac:picMk id="89" creationId="{47ED964F-0B90-4691-9D8A-759B163E2679}"/>
          </ac:picMkLst>
        </pc:picChg>
        <pc:cxnChg chg="add del mod">
          <ac:chgData name="Andreas Weiss" userId="86f45389-4ad9-4ce5-aa22-b4e8edefafef" providerId="ADAL" clId="{BF97026B-F088-444A-89FB-4AB1CE25C7E5}" dt="2021-09-02T09:34:23.834" v="2531" actId="21"/>
          <ac:cxnSpMkLst>
            <pc:docMk/>
            <pc:sldMk cId="3884833749" sldId="454"/>
            <ac:cxnSpMk id="12" creationId="{D08DCF26-C919-4293-AE3B-BB573DC5BC1C}"/>
          </ac:cxnSpMkLst>
        </pc:cxnChg>
        <pc:cxnChg chg="add del mod">
          <ac:chgData name="Andreas Weiss" userId="86f45389-4ad9-4ce5-aa22-b4e8edefafef" providerId="ADAL" clId="{BF97026B-F088-444A-89FB-4AB1CE25C7E5}" dt="2021-09-02T09:34:23.834" v="2531" actId="21"/>
          <ac:cxnSpMkLst>
            <pc:docMk/>
            <pc:sldMk cId="3884833749" sldId="454"/>
            <ac:cxnSpMk id="13" creationId="{9BF27776-11DF-49F5-ABD1-2FF32A462BAD}"/>
          </ac:cxnSpMkLst>
        </pc:cxnChg>
        <pc:cxnChg chg="add del mod">
          <ac:chgData name="Andreas Weiss" userId="86f45389-4ad9-4ce5-aa22-b4e8edefafef" providerId="ADAL" clId="{BF97026B-F088-444A-89FB-4AB1CE25C7E5}" dt="2021-09-02T09:34:23.834" v="2531" actId="21"/>
          <ac:cxnSpMkLst>
            <pc:docMk/>
            <pc:sldMk cId="3884833749" sldId="454"/>
            <ac:cxnSpMk id="23" creationId="{572C59DA-C8FB-4B2B-A544-EBA387E15431}"/>
          </ac:cxnSpMkLst>
        </pc:cxnChg>
        <pc:cxnChg chg="add mod">
          <ac:chgData name="Andreas Weiss" userId="86f45389-4ad9-4ce5-aa22-b4e8edefafef" providerId="ADAL" clId="{BF97026B-F088-444A-89FB-4AB1CE25C7E5}" dt="2021-09-02T12:26:49.959" v="3104" actId="1038"/>
          <ac:cxnSpMkLst>
            <pc:docMk/>
            <pc:sldMk cId="3884833749" sldId="454"/>
            <ac:cxnSpMk id="35" creationId="{D0372472-C924-40AD-B72C-673716EA09A9}"/>
          </ac:cxnSpMkLst>
        </pc:cxnChg>
        <pc:cxnChg chg="add mod">
          <ac:chgData name="Andreas Weiss" userId="86f45389-4ad9-4ce5-aa22-b4e8edefafef" providerId="ADAL" clId="{BF97026B-F088-444A-89FB-4AB1CE25C7E5}" dt="2021-09-02T12:26:49.959" v="3104" actId="1038"/>
          <ac:cxnSpMkLst>
            <pc:docMk/>
            <pc:sldMk cId="3884833749" sldId="454"/>
            <ac:cxnSpMk id="56" creationId="{0FC7C2B4-AE1C-43A9-940B-4A6CB1ACA028}"/>
          </ac:cxnSpMkLst>
        </pc:cxnChg>
        <pc:cxnChg chg="add mod">
          <ac:chgData name="Andreas Weiss" userId="86f45389-4ad9-4ce5-aa22-b4e8edefafef" providerId="ADAL" clId="{BF97026B-F088-444A-89FB-4AB1CE25C7E5}" dt="2021-09-02T12:29:39.455" v="3266" actId="164"/>
          <ac:cxnSpMkLst>
            <pc:docMk/>
            <pc:sldMk cId="3884833749" sldId="454"/>
            <ac:cxnSpMk id="73" creationId="{A8ADFBED-D988-444A-9C02-7DED08F6ABB5}"/>
          </ac:cxnSpMkLst>
        </pc:cxnChg>
        <pc:cxnChg chg="add mod">
          <ac:chgData name="Andreas Weiss" userId="86f45389-4ad9-4ce5-aa22-b4e8edefafef" providerId="ADAL" clId="{BF97026B-F088-444A-89FB-4AB1CE25C7E5}" dt="2021-09-02T12:29:39.455" v="3266" actId="164"/>
          <ac:cxnSpMkLst>
            <pc:docMk/>
            <pc:sldMk cId="3884833749" sldId="454"/>
            <ac:cxnSpMk id="74" creationId="{310EE4A9-656C-450C-B3A5-5B8B870BF212}"/>
          </ac:cxnSpMkLst>
        </pc:cxnChg>
        <pc:cxnChg chg="add mod topLvl">
          <ac:chgData name="Andreas Weiss" userId="86f45389-4ad9-4ce5-aa22-b4e8edefafef" providerId="ADAL" clId="{BF97026B-F088-444A-89FB-4AB1CE25C7E5}" dt="2021-09-02T12:30:07.890" v="3271" actId="164"/>
          <ac:cxnSpMkLst>
            <pc:docMk/>
            <pc:sldMk cId="3884833749" sldId="454"/>
            <ac:cxnSpMk id="84" creationId="{A8723D91-212E-4F0A-AEE5-43C7711057B4}"/>
          </ac:cxnSpMkLst>
        </pc:cxnChg>
      </pc:sldChg>
      <pc:sldChg chg="addSp delSp modSp mod">
        <pc:chgData name="Andreas Weiss" userId="86f45389-4ad9-4ce5-aa22-b4e8edefafef" providerId="ADAL" clId="{BF97026B-F088-444A-89FB-4AB1CE25C7E5}" dt="2021-09-06T11:54:25.304" v="8544" actId="20577"/>
        <pc:sldMkLst>
          <pc:docMk/>
          <pc:sldMk cId="731435147" sldId="456"/>
        </pc:sldMkLst>
        <pc:spChg chg="add del">
          <ac:chgData name="Andreas Weiss" userId="86f45389-4ad9-4ce5-aa22-b4e8edefafef" providerId="ADAL" clId="{BF97026B-F088-444A-89FB-4AB1CE25C7E5}" dt="2021-09-03T09:34:43.399" v="6957" actId="478"/>
          <ac:spMkLst>
            <pc:docMk/>
            <pc:sldMk cId="731435147" sldId="456"/>
            <ac:spMk id="5" creationId="{00000000-0000-0000-0000-000000000000}"/>
          </ac:spMkLst>
        </pc:spChg>
        <pc:spChg chg="mod">
          <ac:chgData name="Andreas Weiss" userId="86f45389-4ad9-4ce5-aa22-b4e8edefafef" providerId="ADAL" clId="{BF97026B-F088-444A-89FB-4AB1CE25C7E5}" dt="2021-09-03T08:33:17.619" v="6254"/>
          <ac:spMkLst>
            <pc:docMk/>
            <pc:sldMk cId="731435147" sldId="456"/>
            <ac:spMk id="6" creationId="{00000000-0000-0000-0000-000000000000}"/>
          </ac:spMkLst>
        </pc:spChg>
        <pc:spChg chg="del">
          <ac:chgData name="Andreas Weiss" userId="86f45389-4ad9-4ce5-aa22-b4e8edefafef" providerId="ADAL" clId="{BF97026B-F088-444A-89FB-4AB1CE25C7E5}" dt="2021-09-03T09:18:37.906" v="6445" actId="478"/>
          <ac:spMkLst>
            <pc:docMk/>
            <pc:sldMk cId="731435147" sldId="456"/>
            <ac:spMk id="7" creationId="{00000000-0000-0000-0000-000000000000}"/>
          </ac:spMkLst>
        </pc:spChg>
        <pc:spChg chg="add mod">
          <ac:chgData name="Andreas Weiss" userId="86f45389-4ad9-4ce5-aa22-b4e8edefafef" providerId="ADAL" clId="{BF97026B-F088-444A-89FB-4AB1CE25C7E5}" dt="2021-09-06T11:50:54.399" v="8530" actId="6549"/>
          <ac:spMkLst>
            <pc:docMk/>
            <pc:sldMk cId="731435147" sldId="456"/>
            <ac:spMk id="14" creationId="{75D9A4DE-F4E5-41CD-9B8B-FB65EDF3553A}"/>
          </ac:spMkLst>
        </pc:spChg>
        <pc:spChg chg="add del mod">
          <ac:chgData name="Andreas Weiss" userId="86f45389-4ad9-4ce5-aa22-b4e8edefafef" providerId="ADAL" clId="{BF97026B-F088-444A-89FB-4AB1CE25C7E5}" dt="2021-09-03T09:20:23.223" v="6447" actId="478"/>
          <ac:spMkLst>
            <pc:docMk/>
            <pc:sldMk cId="731435147" sldId="456"/>
            <ac:spMk id="14" creationId="{C0717987-0A80-4C1D-9253-580D55C337A6}"/>
          </ac:spMkLst>
        </pc:spChg>
        <pc:spChg chg="add mod">
          <ac:chgData name="Andreas Weiss" userId="86f45389-4ad9-4ce5-aa22-b4e8edefafef" providerId="ADAL" clId="{BF97026B-F088-444A-89FB-4AB1CE25C7E5}" dt="2021-09-06T11:54:25.304" v="8544" actId="20577"/>
          <ac:spMkLst>
            <pc:docMk/>
            <pc:sldMk cId="731435147" sldId="456"/>
            <ac:spMk id="15" creationId="{14F8EC4A-E3BA-4C63-A70C-EF35CFFCD18F}"/>
          </ac:spMkLst>
        </pc:spChg>
        <pc:spChg chg="add del mod">
          <ac:chgData name="Andreas Weiss" userId="86f45389-4ad9-4ce5-aa22-b4e8edefafef" providerId="ADAL" clId="{BF97026B-F088-444A-89FB-4AB1CE25C7E5}" dt="2021-09-03T09:20:58.216" v="6448" actId="478"/>
          <ac:spMkLst>
            <pc:docMk/>
            <pc:sldMk cId="731435147" sldId="456"/>
            <ac:spMk id="16" creationId="{E0F2AAC8-4C15-4C8C-AE65-D82345201B97}"/>
          </ac:spMkLst>
        </pc:spChg>
        <pc:spChg chg="add del mod">
          <ac:chgData name="Andreas Weiss" userId="86f45389-4ad9-4ce5-aa22-b4e8edefafef" providerId="ADAL" clId="{BF97026B-F088-444A-89FB-4AB1CE25C7E5}" dt="2021-09-03T09:25:39.085" v="6678" actId="21"/>
          <ac:spMkLst>
            <pc:docMk/>
            <pc:sldMk cId="731435147" sldId="456"/>
            <ac:spMk id="17" creationId="{53B7DC3C-D151-441B-8F77-E68E63987B73}"/>
          </ac:spMkLst>
        </pc:spChg>
        <pc:spChg chg="add del mod">
          <ac:chgData name="Andreas Weiss" userId="86f45389-4ad9-4ce5-aa22-b4e8edefafef" providerId="ADAL" clId="{BF97026B-F088-444A-89FB-4AB1CE25C7E5}" dt="2021-09-03T09:28:37.885" v="6752" actId="21"/>
          <ac:spMkLst>
            <pc:docMk/>
            <pc:sldMk cId="731435147" sldId="456"/>
            <ac:spMk id="18" creationId="{A8DA42D4-DFA7-4FFD-9A2B-BCCD1B7BF67E}"/>
          </ac:spMkLst>
        </pc:spChg>
        <pc:spChg chg="add del mod topLvl">
          <ac:chgData name="Andreas Weiss" userId="86f45389-4ad9-4ce5-aa22-b4e8edefafef" providerId="ADAL" clId="{BF97026B-F088-444A-89FB-4AB1CE25C7E5}" dt="2021-09-03T09:31:30.087" v="6767" actId="478"/>
          <ac:spMkLst>
            <pc:docMk/>
            <pc:sldMk cId="731435147" sldId="456"/>
            <ac:spMk id="19" creationId="{635DDDE7-A147-4CC5-A62C-89025E501AB7}"/>
          </ac:spMkLst>
        </pc:spChg>
        <pc:spChg chg="add del mod topLvl">
          <ac:chgData name="Andreas Weiss" userId="86f45389-4ad9-4ce5-aa22-b4e8edefafef" providerId="ADAL" clId="{BF97026B-F088-444A-89FB-4AB1CE25C7E5}" dt="2021-09-03T09:31:30.087" v="6767" actId="478"/>
          <ac:spMkLst>
            <pc:docMk/>
            <pc:sldMk cId="731435147" sldId="456"/>
            <ac:spMk id="20" creationId="{E381FE23-F8E3-4B6B-B137-4B41F04B4E97}"/>
          </ac:spMkLst>
        </pc:spChg>
        <pc:spChg chg="add del mod topLvl">
          <ac:chgData name="Andreas Weiss" userId="86f45389-4ad9-4ce5-aa22-b4e8edefafef" providerId="ADAL" clId="{BF97026B-F088-444A-89FB-4AB1CE25C7E5}" dt="2021-09-03T09:31:30.087" v="6767" actId="478"/>
          <ac:spMkLst>
            <pc:docMk/>
            <pc:sldMk cId="731435147" sldId="456"/>
            <ac:spMk id="21" creationId="{DD38ACBC-D207-4C7B-9181-F336FFF93B9B}"/>
          </ac:spMkLst>
        </pc:spChg>
        <pc:spChg chg="add mod topLvl">
          <ac:chgData name="Andreas Weiss" userId="86f45389-4ad9-4ce5-aa22-b4e8edefafef" providerId="ADAL" clId="{BF97026B-F088-444A-89FB-4AB1CE25C7E5}" dt="2021-09-03T09:31:45.720" v="6769" actId="12788"/>
          <ac:spMkLst>
            <pc:docMk/>
            <pc:sldMk cId="731435147" sldId="456"/>
            <ac:spMk id="22" creationId="{717F3257-6C75-4EAB-BA1A-D4BD0A00B528}"/>
          </ac:spMkLst>
        </pc:spChg>
        <pc:spChg chg="add mod">
          <ac:chgData name="Andreas Weiss" userId="86f45389-4ad9-4ce5-aa22-b4e8edefafef" providerId="ADAL" clId="{BF97026B-F088-444A-89FB-4AB1CE25C7E5}" dt="2021-09-03T09:31:37.449" v="6768"/>
          <ac:spMkLst>
            <pc:docMk/>
            <pc:sldMk cId="731435147" sldId="456"/>
            <ac:spMk id="24" creationId="{F98A63A2-D768-4421-8E5E-DD9E5631A2E6}"/>
          </ac:spMkLst>
        </pc:spChg>
        <pc:spChg chg="add mod">
          <ac:chgData name="Andreas Weiss" userId="86f45389-4ad9-4ce5-aa22-b4e8edefafef" providerId="ADAL" clId="{BF97026B-F088-444A-89FB-4AB1CE25C7E5}" dt="2021-09-03T09:31:37.449" v="6768"/>
          <ac:spMkLst>
            <pc:docMk/>
            <pc:sldMk cId="731435147" sldId="456"/>
            <ac:spMk id="25" creationId="{B178F448-46F8-4E1D-BC36-96A80D510694}"/>
          </ac:spMkLst>
        </pc:spChg>
        <pc:spChg chg="add mod">
          <ac:chgData name="Andreas Weiss" userId="86f45389-4ad9-4ce5-aa22-b4e8edefafef" providerId="ADAL" clId="{BF97026B-F088-444A-89FB-4AB1CE25C7E5}" dt="2021-09-03T09:31:37.449" v="6768"/>
          <ac:spMkLst>
            <pc:docMk/>
            <pc:sldMk cId="731435147" sldId="456"/>
            <ac:spMk id="26" creationId="{57C6247A-6D62-4042-9958-896D283B583E}"/>
          </ac:spMkLst>
        </pc:spChg>
        <pc:spChg chg="add del mod">
          <ac:chgData name="Andreas Weiss" userId="86f45389-4ad9-4ce5-aa22-b4e8edefafef" providerId="ADAL" clId="{BF97026B-F088-444A-89FB-4AB1CE25C7E5}" dt="2021-09-03T09:34:44.671" v="6958" actId="478"/>
          <ac:spMkLst>
            <pc:docMk/>
            <pc:sldMk cId="731435147" sldId="456"/>
            <ac:spMk id="30" creationId="{A014DFD2-57EF-4A67-B950-EE7915968523}"/>
          </ac:spMkLst>
        </pc:spChg>
        <pc:spChg chg="add del mod">
          <ac:chgData name="Andreas Weiss" userId="86f45389-4ad9-4ce5-aa22-b4e8edefafef" providerId="ADAL" clId="{BF97026B-F088-444A-89FB-4AB1CE25C7E5}" dt="2021-09-03T09:34:35.169" v="6953" actId="478"/>
          <ac:spMkLst>
            <pc:docMk/>
            <pc:sldMk cId="731435147" sldId="456"/>
            <ac:spMk id="32" creationId="{B53A649F-BE10-4B35-845B-B8588AEFA383}"/>
          </ac:spMkLst>
        </pc:spChg>
        <pc:spChg chg="add del mod">
          <ac:chgData name="Andreas Weiss" userId="86f45389-4ad9-4ce5-aa22-b4e8edefafef" providerId="ADAL" clId="{BF97026B-F088-444A-89FB-4AB1CE25C7E5}" dt="2021-09-03T09:34:51.623" v="6960" actId="478"/>
          <ac:spMkLst>
            <pc:docMk/>
            <pc:sldMk cId="731435147" sldId="456"/>
            <ac:spMk id="38" creationId="{DAB2DA0C-9635-400D-AE27-34D0C392EFD9}"/>
          </ac:spMkLst>
        </pc:spChg>
        <pc:spChg chg="add del mod">
          <ac:chgData name="Andreas Weiss" userId="86f45389-4ad9-4ce5-aa22-b4e8edefafef" providerId="ADAL" clId="{BF97026B-F088-444A-89FB-4AB1CE25C7E5}" dt="2021-09-06T08:54:17.936" v="7663" actId="478"/>
          <ac:spMkLst>
            <pc:docMk/>
            <pc:sldMk cId="731435147" sldId="456"/>
            <ac:spMk id="39" creationId="{C99F6A13-2B5A-4542-B161-FEF0B8954BB3}"/>
          </ac:spMkLst>
        </pc:spChg>
        <pc:grpChg chg="add del mod">
          <ac:chgData name="Andreas Weiss" userId="86f45389-4ad9-4ce5-aa22-b4e8edefafef" providerId="ADAL" clId="{BF97026B-F088-444A-89FB-4AB1CE25C7E5}" dt="2021-09-03T09:31:03.810" v="6766" actId="165"/>
          <ac:grpSpMkLst>
            <pc:docMk/>
            <pc:sldMk cId="731435147" sldId="456"/>
            <ac:grpSpMk id="23" creationId="{FA3941EE-6674-4561-93ED-54B6AB715A25}"/>
          </ac:grpSpMkLst>
        </pc:grpChg>
        <pc:picChg chg="add del mod">
          <ac:chgData name="Andreas Weiss" userId="86f45389-4ad9-4ce5-aa22-b4e8edefafef" providerId="ADAL" clId="{BF97026B-F088-444A-89FB-4AB1CE25C7E5}" dt="2021-09-03T08:57:14.111" v="6443" actId="478"/>
          <ac:picMkLst>
            <pc:docMk/>
            <pc:sldMk cId="731435147" sldId="456"/>
            <ac:picMk id="3" creationId="{6C5652D0-BAFA-4F30-AF1F-3BA70715892A}"/>
          </ac:picMkLst>
        </pc:picChg>
        <pc:picChg chg="add del mod">
          <ac:chgData name="Andreas Weiss" userId="86f45389-4ad9-4ce5-aa22-b4e8edefafef" providerId="ADAL" clId="{BF97026B-F088-444A-89FB-4AB1CE25C7E5}" dt="2021-09-03T08:57:14.111" v="6443" actId="478"/>
          <ac:picMkLst>
            <pc:docMk/>
            <pc:sldMk cId="731435147" sldId="456"/>
            <ac:picMk id="9" creationId="{21D3F403-177E-4428-85CD-98FA55E53633}"/>
          </ac:picMkLst>
        </pc:picChg>
        <pc:picChg chg="add del mod">
          <ac:chgData name="Andreas Weiss" userId="86f45389-4ad9-4ce5-aa22-b4e8edefafef" providerId="ADAL" clId="{BF97026B-F088-444A-89FB-4AB1CE25C7E5}" dt="2021-09-03T08:57:14.111" v="6443" actId="478"/>
          <ac:picMkLst>
            <pc:docMk/>
            <pc:sldMk cId="731435147" sldId="456"/>
            <ac:picMk id="10" creationId="{A5484239-CBB4-450C-B2E4-DFB2000F6D02}"/>
          </ac:picMkLst>
        </pc:picChg>
        <pc:picChg chg="add del mod topLvl">
          <ac:chgData name="Andreas Weiss" userId="86f45389-4ad9-4ce5-aa22-b4e8edefafef" providerId="ADAL" clId="{BF97026B-F088-444A-89FB-4AB1CE25C7E5}" dt="2021-09-03T09:32:26.358" v="6780" actId="21"/>
          <ac:picMkLst>
            <pc:docMk/>
            <pc:sldMk cId="731435147" sldId="456"/>
            <ac:picMk id="11" creationId="{3B0C8F26-08D8-476A-8052-070A8DEF26A4}"/>
          </ac:picMkLst>
        </pc:picChg>
        <pc:picChg chg="add del mod topLvl">
          <ac:chgData name="Andreas Weiss" userId="86f45389-4ad9-4ce5-aa22-b4e8edefafef" providerId="ADAL" clId="{BF97026B-F088-444A-89FB-4AB1CE25C7E5}" dt="2021-09-03T09:32:11.834" v="6775" actId="21"/>
          <ac:picMkLst>
            <pc:docMk/>
            <pc:sldMk cId="731435147" sldId="456"/>
            <ac:picMk id="12" creationId="{14B1DEEE-5224-4EC4-A6E3-E0D9CA2ABBA7}"/>
          </ac:picMkLst>
        </pc:picChg>
        <pc:picChg chg="add del mod topLvl">
          <ac:chgData name="Andreas Weiss" userId="86f45389-4ad9-4ce5-aa22-b4e8edefafef" providerId="ADAL" clId="{BF97026B-F088-444A-89FB-4AB1CE25C7E5}" dt="2021-09-03T09:31:48.138" v="6770" actId="21"/>
          <ac:picMkLst>
            <pc:docMk/>
            <pc:sldMk cId="731435147" sldId="456"/>
            <ac:picMk id="13" creationId="{9C1C3676-F105-4F0E-83C5-AB191EAFF793}"/>
          </ac:picMkLst>
        </pc:picChg>
        <pc:picChg chg="add mod">
          <ac:chgData name="Andreas Weiss" userId="86f45389-4ad9-4ce5-aa22-b4e8edefafef" providerId="ADAL" clId="{BF97026B-F088-444A-89FB-4AB1CE25C7E5}" dt="2021-09-03T09:32:05.943" v="6774"/>
          <ac:picMkLst>
            <pc:docMk/>
            <pc:sldMk cId="731435147" sldId="456"/>
            <ac:picMk id="27" creationId="{C02102D5-2FD6-495D-97B1-53EB83D2CB38}"/>
          </ac:picMkLst>
        </pc:picChg>
        <pc:picChg chg="add mod">
          <ac:chgData name="Andreas Weiss" userId="86f45389-4ad9-4ce5-aa22-b4e8edefafef" providerId="ADAL" clId="{BF97026B-F088-444A-89FB-4AB1CE25C7E5}" dt="2021-09-03T09:32:24.685" v="6779"/>
          <ac:picMkLst>
            <pc:docMk/>
            <pc:sldMk cId="731435147" sldId="456"/>
            <ac:picMk id="28" creationId="{C71A63E1-3A16-44CF-B3DE-E1E456E0CCCD}"/>
          </ac:picMkLst>
        </pc:picChg>
        <pc:picChg chg="add mod">
          <ac:chgData name="Andreas Weiss" userId="86f45389-4ad9-4ce5-aa22-b4e8edefafef" providerId="ADAL" clId="{BF97026B-F088-444A-89FB-4AB1CE25C7E5}" dt="2021-09-03T09:32:44.737" v="6784"/>
          <ac:picMkLst>
            <pc:docMk/>
            <pc:sldMk cId="731435147" sldId="456"/>
            <ac:picMk id="29" creationId="{E929B131-F3B7-4CD5-AB62-0CEEB57740F5}"/>
          </ac:picMkLst>
        </pc:picChg>
        <pc:picChg chg="add del mod">
          <ac:chgData name="Andreas Weiss" userId="86f45389-4ad9-4ce5-aa22-b4e8edefafef" providerId="ADAL" clId="{BF97026B-F088-444A-89FB-4AB1CE25C7E5}" dt="2021-09-03T09:34:33.979" v="6950"/>
          <ac:picMkLst>
            <pc:docMk/>
            <pc:sldMk cId="731435147" sldId="456"/>
            <ac:picMk id="33" creationId="{504768F6-FF47-42CD-96CF-ECB0E6B01DE3}"/>
          </ac:picMkLst>
        </pc:picChg>
        <pc:picChg chg="add del mod">
          <ac:chgData name="Andreas Weiss" userId="86f45389-4ad9-4ce5-aa22-b4e8edefafef" providerId="ADAL" clId="{BF97026B-F088-444A-89FB-4AB1CE25C7E5}" dt="2021-09-03T09:34:33.979" v="6950"/>
          <ac:picMkLst>
            <pc:docMk/>
            <pc:sldMk cId="731435147" sldId="456"/>
            <ac:picMk id="34" creationId="{727EF49F-8D70-4CC6-9D90-337E062301B7}"/>
          </ac:picMkLst>
        </pc:picChg>
        <pc:picChg chg="add del mod">
          <ac:chgData name="Andreas Weiss" userId="86f45389-4ad9-4ce5-aa22-b4e8edefafef" providerId="ADAL" clId="{BF97026B-F088-444A-89FB-4AB1CE25C7E5}" dt="2021-09-06T08:54:19.924" v="7664" actId="21"/>
          <ac:picMkLst>
            <pc:docMk/>
            <pc:sldMk cId="731435147" sldId="456"/>
            <ac:picMk id="35" creationId="{B3F083ED-EF3F-4E55-B9D5-C2E097F4E0C5}"/>
          </ac:picMkLst>
        </pc:picChg>
        <pc:picChg chg="add del mod">
          <ac:chgData name="Andreas Weiss" userId="86f45389-4ad9-4ce5-aa22-b4e8edefafef" providerId="ADAL" clId="{BF97026B-F088-444A-89FB-4AB1CE25C7E5}" dt="2021-09-06T08:54:19.924" v="7664" actId="21"/>
          <ac:picMkLst>
            <pc:docMk/>
            <pc:sldMk cId="731435147" sldId="456"/>
            <ac:picMk id="36" creationId="{F991E0B7-8F51-47AE-89E9-8567F5E646E5}"/>
          </ac:picMkLst>
        </pc:picChg>
      </pc:sldChg>
      <pc:sldChg chg="addSp delSp modSp del mod">
        <pc:chgData name="Andreas Weiss" userId="86f45389-4ad9-4ce5-aa22-b4e8edefafef" providerId="ADAL" clId="{BF97026B-F088-444A-89FB-4AB1CE25C7E5}" dt="2021-09-02T12:31:18.258" v="3274" actId="47"/>
        <pc:sldMkLst>
          <pc:docMk/>
          <pc:sldMk cId="2419051973" sldId="457"/>
        </pc:sldMkLst>
        <pc:spChg chg="mod">
          <ac:chgData name="Andreas Weiss" userId="86f45389-4ad9-4ce5-aa22-b4e8edefafef" providerId="ADAL" clId="{BF97026B-F088-444A-89FB-4AB1CE25C7E5}" dt="2021-09-02T09:31:34.321" v="2441" actId="21"/>
          <ac:spMkLst>
            <pc:docMk/>
            <pc:sldMk cId="2419051973" sldId="457"/>
            <ac:spMk id="6" creationId="{00000000-0000-0000-0000-000000000000}"/>
          </ac:spMkLst>
        </pc:spChg>
        <pc:spChg chg="del">
          <ac:chgData name="Andreas Weiss" userId="86f45389-4ad9-4ce5-aa22-b4e8edefafef" providerId="ADAL" clId="{BF97026B-F088-444A-89FB-4AB1CE25C7E5}" dt="2021-09-02T09:31:00.434" v="2440" actId="478"/>
          <ac:spMkLst>
            <pc:docMk/>
            <pc:sldMk cId="2419051973" sldId="457"/>
            <ac:spMk id="7" creationId="{00000000-0000-0000-0000-000000000000}"/>
          </ac:spMkLst>
        </pc:spChg>
        <pc:spChg chg="add del mod">
          <ac:chgData name="Andreas Weiss" userId="86f45389-4ad9-4ce5-aa22-b4e8edefafef" providerId="ADAL" clId="{BF97026B-F088-444A-89FB-4AB1CE25C7E5}" dt="2021-09-02T12:24:42.314" v="3042" actId="21"/>
          <ac:spMkLst>
            <pc:docMk/>
            <pc:sldMk cId="2419051973" sldId="457"/>
            <ac:spMk id="9" creationId="{79BEF0EA-FB28-43F2-B557-89A5A33C7C6F}"/>
          </ac:spMkLst>
        </pc:spChg>
        <pc:spChg chg="add del mod">
          <ac:chgData name="Andreas Weiss" userId="86f45389-4ad9-4ce5-aa22-b4e8edefafef" providerId="ADAL" clId="{BF97026B-F088-444A-89FB-4AB1CE25C7E5}" dt="2021-09-02T12:24:42.314" v="3042" actId="21"/>
          <ac:spMkLst>
            <pc:docMk/>
            <pc:sldMk cId="2419051973" sldId="457"/>
            <ac:spMk id="10" creationId="{834D845D-9286-4A39-A25E-ED506D912C86}"/>
          </ac:spMkLst>
        </pc:spChg>
        <pc:spChg chg="add del mod">
          <ac:chgData name="Andreas Weiss" userId="86f45389-4ad9-4ce5-aa22-b4e8edefafef" providerId="ADAL" clId="{BF97026B-F088-444A-89FB-4AB1CE25C7E5}" dt="2021-09-02T12:24:42.314" v="3042" actId="21"/>
          <ac:spMkLst>
            <pc:docMk/>
            <pc:sldMk cId="2419051973" sldId="457"/>
            <ac:spMk id="11" creationId="{D615BB6B-720C-4653-AB2C-779CB6E32A67}"/>
          </ac:spMkLst>
        </pc:spChg>
        <pc:spChg chg="mod">
          <ac:chgData name="Andreas Weiss" userId="86f45389-4ad9-4ce5-aa22-b4e8edefafef" providerId="ADAL" clId="{BF97026B-F088-444A-89FB-4AB1CE25C7E5}" dt="2021-09-02T09:34:31.533" v="2533" actId="1076"/>
          <ac:spMkLst>
            <pc:docMk/>
            <pc:sldMk cId="2419051973" sldId="457"/>
            <ac:spMk id="17" creationId="{54D46655-6A1A-4CA5-A1D5-9F6226AC7F9F}"/>
          </ac:spMkLst>
        </pc:spChg>
        <pc:spChg chg="mod">
          <ac:chgData name="Andreas Weiss" userId="86f45389-4ad9-4ce5-aa22-b4e8edefafef" providerId="ADAL" clId="{BF97026B-F088-444A-89FB-4AB1CE25C7E5}" dt="2021-09-02T09:34:31.533" v="2533" actId="1076"/>
          <ac:spMkLst>
            <pc:docMk/>
            <pc:sldMk cId="2419051973" sldId="457"/>
            <ac:spMk id="21" creationId="{441EC7E6-A6C6-4A28-9AEB-0AFC48793847}"/>
          </ac:spMkLst>
        </pc:spChg>
        <pc:spChg chg="add del mod">
          <ac:chgData name="Andreas Weiss" userId="86f45389-4ad9-4ce5-aa22-b4e8edefafef" providerId="ADAL" clId="{BF97026B-F088-444A-89FB-4AB1CE25C7E5}" dt="2021-09-02T12:24:42.314" v="3042" actId="21"/>
          <ac:spMkLst>
            <pc:docMk/>
            <pc:sldMk cId="2419051973" sldId="457"/>
            <ac:spMk id="22" creationId="{2B41684C-9C82-49CE-928A-FDEE50C261C0}"/>
          </ac:spMkLst>
        </pc:spChg>
        <pc:spChg chg="mod">
          <ac:chgData name="Andreas Weiss" userId="86f45389-4ad9-4ce5-aa22-b4e8edefafef" providerId="ADAL" clId="{BF97026B-F088-444A-89FB-4AB1CE25C7E5}" dt="2021-09-02T09:34:31.533" v="2533" actId="1076"/>
          <ac:spMkLst>
            <pc:docMk/>
            <pc:sldMk cId="2419051973" sldId="457"/>
            <ac:spMk id="25" creationId="{89AC3331-156B-4F69-B091-F4EF48D06B34}"/>
          </ac:spMkLst>
        </pc:spChg>
        <pc:spChg chg="mod">
          <ac:chgData name="Andreas Weiss" userId="86f45389-4ad9-4ce5-aa22-b4e8edefafef" providerId="ADAL" clId="{BF97026B-F088-444A-89FB-4AB1CE25C7E5}" dt="2021-09-02T09:34:31.533" v="2533" actId="1076"/>
          <ac:spMkLst>
            <pc:docMk/>
            <pc:sldMk cId="2419051973" sldId="457"/>
            <ac:spMk id="29" creationId="{0F1BA9D5-7616-4D0A-9FC2-6C361CA588A3}"/>
          </ac:spMkLst>
        </pc:spChg>
        <pc:spChg chg="add del mod">
          <ac:chgData name="Andreas Weiss" userId="86f45389-4ad9-4ce5-aa22-b4e8edefafef" providerId="ADAL" clId="{BF97026B-F088-444A-89FB-4AB1CE25C7E5}" dt="2021-09-02T12:24:42.314" v="3042" actId="21"/>
          <ac:spMkLst>
            <pc:docMk/>
            <pc:sldMk cId="2419051973" sldId="457"/>
            <ac:spMk id="30" creationId="{CA1FE862-EFBB-43E5-808A-34E6C810F176}"/>
          </ac:spMkLst>
        </pc:spChg>
        <pc:grpChg chg="add del mod">
          <ac:chgData name="Andreas Weiss" userId="86f45389-4ad9-4ce5-aa22-b4e8edefafef" providerId="ADAL" clId="{BF97026B-F088-444A-89FB-4AB1CE25C7E5}" dt="2021-09-02T12:24:42.314" v="3042" actId="21"/>
          <ac:grpSpMkLst>
            <pc:docMk/>
            <pc:sldMk cId="2419051973" sldId="457"/>
            <ac:grpSpMk id="16" creationId="{457D1782-6B24-4A90-9C3B-0FF9144846E4}"/>
          </ac:grpSpMkLst>
        </pc:grpChg>
        <pc:grpChg chg="mod">
          <ac:chgData name="Andreas Weiss" userId="86f45389-4ad9-4ce5-aa22-b4e8edefafef" providerId="ADAL" clId="{BF97026B-F088-444A-89FB-4AB1CE25C7E5}" dt="2021-09-02T09:34:31.533" v="2533" actId="1076"/>
          <ac:grpSpMkLst>
            <pc:docMk/>
            <pc:sldMk cId="2419051973" sldId="457"/>
            <ac:grpSpMk id="19" creationId="{832D8F17-89F1-403D-808D-E1B13208FB1A}"/>
          </ac:grpSpMkLst>
        </pc:grpChg>
        <pc:grpChg chg="add del mod">
          <ac:chgData name="Andreas Weiss" userId="86f45389-4ad9-4ce5-aa22-b4e8edefafef" providerId="ADAL" clId="{BF97026B-F088-444A-89FB-4AB1CE25C7E5}" dt="2021-09-02T12:24:42.314" v="3042" actId="21"/>
          <ac:grpSpMkLst>
            <pc:docMk/>
            <pc:sldMk cId="2419051973" sldId="457"/>
            <ac:grpSpMk id="24" creationId="{58BA2B52-A87E-4C19-9080-8CBE1FA5815D}"/>
          </ac:grpSpMkLst>
        </pc:grpChg>
        <pc:grpChg chg="mod">
          <ac:chgData name="Andreas Weiss" userId="86f45389-4ad9-4ce5-aa22-b4e8edefafef" providerId="ADAL" clId="{BF97026B-F088-444A-89FB-4AB1CE25C7E5}" dt="2021-09-02T09:34:31.533" v="2533" actId="1076"/>
          <ac:grpSpMkLst>
            <pc:docMk/>
            <pc:sldMk cId="2419051973" sldId="457"/>
            <ac:grpSpMk id="27" creationId="{D71E0A8E-3C7C-4462-AF51-C3CD580BC6AB}"/>
          </ac:grpSpMkLst>
        </pc:grpChg>
        <pc:picChg chg="add del mod">
          <ac:chgData name="Andreas Weiss" userId="86f45389-4ad9-4ce5-aa22-b4e8edefafef" providerId="ADAL" clId="{BF97026B-F088-444A-89FB-4AB1CE25C7E5}" dt="2021-09-02T12:24:42.314" v="3042" actId="21"/>
          <ac:picMkLst>
            <pc:docMk/>
            <pc:sldMk cId="2419051973" sldId="457"/>
            <ac:picMk id="14" creationId="{8D4217C7-CCBB-4A08-AB81-3603F1FE4831}"/>
          </ac:picMkLst>
        </pc:picChg>
        <pc:picChg chg="add del mod">
          <ac:chgData name="Andreas Weiss" userId="86f45389-4ad9-4ce5-aa22-b4e8edefafef" providerId="ADAL" clId="{BF97026B-F088-444A-89FB-4AB1CE25C7E5}" dt="2021-09-02T12:24:42.314" v="3042" actId="21"/>
          <ac:picMkLst>
            <pc:docMk/>
            <pc:sldMk cId="2419051973" sldId="457"/>
            <ac:picMk id="15" creationId="{3D6E66D5-34EF-43FD-8187-C563A8C72DCC}"/>
          </ac:picMkLst>
        </pc:picChg>
        <pc:picChg chg="mod">
          <ac:chgData name="Andreas Weiss" userId="86f45389-4ad9-4ce5-aa22-b4e8edefafef" providerId="ADAL" clId="{BF97026B-F088-444A-89FB-4AB1CE25C7E5}" dt="2021-09-02T09:34:31.533" v="2533" actId="1076"/>
          <ac:picMkLst>
            <pc:docMk/>
            <pc:sldMk cId="2419051973" sldId="457"/>
            <ac:picMk id="18" creationId="{44E76522-FEAF-40B8-8887-A6CE181B02F1}"/>
          </ac:picMkLst>
        </pc:picChg>
        <pc:picChg chg="mod">
          <ac:chgData name="Andreas Weiss" userId="86f45389-4ad9-4ce5-aa22-b4e8edefafef" providerId="ADAL" clId="{BF97026B-F088-444A-89FB-4AB1CE25C7E5}" dt="2021-09-02T09:34:31.533" v="2533" actId="1076"/>
          <ac:picMkLst>
            <pc:docMk/>
            <pc:sldMk cId="2419051973" sldId="457"/>
            <ac:picMk id="20" creationId="{861FB1CD-7A02-42BF-8096-8CAE99F8E814}"/>
          </ac:picMkLst>
        </pc:picChg>
        <pc:picChg chg="mod">
          <ac:chgData name="Andreas Weiss" userId="86f45389-4ad9-4ce5-aa22-b4e8edefafef" providerId="ADAL" clId="{BF97026B-F088-444A-89FB-4AB1CE25C7E5}" dt="2021-09-02T09:34:31.533" v="2533" actId="1076"/>
          <ac:picMkLst>
            <pc:docMk/>
            <pc:sldMk cId="2419051973" sldId="457"/>
            <ac:picMk id="26" creationId="{D4F89040-4741-4A40-8A4A-301AC225F199}"/>
          </ac:picMkLst>
        </pc:picChg>
        <pc:picChg chg="mod">
          <ac:chgData name="Andreas Weiss" userId="86f45389-4ad9-4ce5-aa22-b4e8edefafef" providerId="ADAL" clId="{BF97026B-F088-444A-89FB-4AB1CE25C7E5}" dt="2021-09-02T09:34:31.533" v="2533" actId="1076"/>
          <ac:picMkLst>
            <pc:docMk/>
            <pc:sldMk cId="2419051973" sldId="457"/>
            <ac:picMk id="28" creationId="{3CC6630A-39D5-43EB-9F53-BF77D1D293DB}"/>
          </ac:picMkLst>
        </pc:picChg>
        <pc:cxnChg chg="add del mod">
          <ac:chgData name="Andreas Weiss" userId="86f45389-4ad9-4ce5-aa22-b4e8edefafef" providerId="ADAL" clId="{BF97026B-F088-444A-89FB-4AB1CE25C7E5}" dt="2021-09-02T12:24:42.314" v="3042" actId="21"/>
          <ac:cxnSpMkLst>
            <pc:docMk/>
            <pc:sldMk cId="2419051973" sldId="457"/>
            <ac:cxnSpMk id="12" creationId="{F59964FC-9488-4D0B-8938-7BE3F5658759}"/>
          </ac:cxnSpMkLst>
        </pc:cxnChg>
        <pc:cxnChg chg="add del mod">
          <ac:chgData name="Andreas Weiss" userId="86f45389-4ad9-4ce5-aa22-b4e8edefafef" providerId="ADAL" clId="{BF97026B-F088-444A-89FB-4AB1CE25C7E5}" dt="2021-09-02T12:24:42.314" v="3042" actId="21"/>
          <ac:cxnSpMkLst>
            <pc:docMk/>
            <pc:sldMk cId="2419051973" sldId="457"/>
            <ac:cxnSpMk id="13" creationId="{6491862A-E903-455F-902C-E4B2489B351D}"/>
          </ac:cxnSpMkLst>
        </pc:cxnChg>
        <pc:cxnChg chg="add del mod">
          <ac:chgData name="Andreas Weiss" userId="86f45389-4ad9-4ce5-aa22-b4e8edefafef" providerId="ADAL" clId="{BF97026B-F088-444A-89FB-4AB1CE25C7E5}" dt="2021-09-02T12:24:42.314" v="3042" actId="21"/>
          <ac:cxnSpMkLst>
            <pc:docMk/>
            <pc:sldMk cId="2419051973" sldId="457"/>
            <ac:cxnSpMk id="23" creationId="{9BAD60F4-5895-49CE-902C-A0FE51109611}"/>
          </ac:cxnSpMkLst>
        </pc:cxnChg>
      </pc:sldChg>
      <pc:sldChg chg="addSp delSp modSp mod addAnim delAnim modAnim">
        <pc:chgData name="Andreas Weiss" userId="86f45389-4ad9-4ce5-aa22-b4e8edefafef" providerId="ADAL" clId="{BF97026B-F088-444A-89FB-4AB1CE25C7E5}" dt="2021-09-06T12:22:49.231" v="8725" actId="20577"/>
        <pc:sldMkLst>
          <pc:docMk/>
          <pc:sldMk cId="1767967835" sldId="458"/>
        </pc:sldMkLst>
        <pc:spChg chg="mod">
          <ac:chgData name="Andreas Weiss" userId="86f45389-4ad9-4ce5-aa22-b4e8edefafef" providerId="ADAL" clId="{BF97026B-F088-444A-89FB-4AB1CE25C7E5}" dt="2021-09-02T12:15:48.259" v="2670" actId="20577"/>
          <ac:spMkLst>
            <pc:docMk/>
            <pc:sldMk cId="1767967835" sldId="458"/>
            <ac:spMk id="6" creationId="{00000000-0000-0000-0000-000000000000}"/>
          </ac:spMkLst>
        </pc:spChg>
        <pc:spChg chg="del mod">
          <ac:chgData name="Andreas Weiss" userId="86f45389-4ad9-4ce5-aa22-b4e8edefafef" providerId="ADAL" clId="{BF97026B-F088-444A-89FB-4AB1CE25C7E5}" dt="2021-09-03T07:09:39.573" v="4276" actId="478"/>
          <ac:spMkLst>
            <pc:docMk/>
            <pc:sldMk cId="1767967835" sldId="458"/>
            <ac:spMk id="7" creationId="{00000000-0000-0000-0000-000000000000}"/>
          </ac:spMkLst>
        </pc:spChg>
        <pc:spChg chg="add mod">
          <ac:chgData name="Andreas Weiss" userId="86f45389-4ad9-4ce5-aa22-b4e8edefafef" providerId="ADAL" clId="{BF97026B-F088-444A-89FB-4AB1CE25C7E5}" dt="2021-09-03T07:10:24.982" v="4299" actId="1036"/>
          <ac:spMkLst>
            <pc:docMk/>
            <pc:sldMk cId="1767967835" sldId="458"/>
            <ac:spMk id="9" creationId="{2FB10096-F0E1-4136-8CA3-1C1F87598357}"/>
          </ac:spMkLst>
        </pc:spChg>
        <pc:spChg chg="add del mod">
          <ac:chgData name="Andreas Weiss" userId="86f45389-4ad9-4ce5-aa22-b4e8edefafef" providerId="ADAL" clId="{BF97026B-F088-444A-89FB-4AB1CE25C7E5}" dt="2021-09-06T12:22:49.231" v="8725" actId="20577"/>
          <ac:spMkLst>
            <pc:docMk/>
            <pc:sldMk cId="1767967835" sldId="458"/>
            <ac:spMk id="10" creationId="{7967F7A1-4E2C-4B74-AE22-A056555E8AD8}"/>
          </ac:spMkLst>
        </pc:spChg>
        <pc:spChg chg="add del mod">
          <ac:chgData name="Andreas Weiss" userId="86f45389-4ad9-4ce5-aa22-b4e8edefafef" providerId="ADAL" clId="{BF97026B-F088-444A-89FB-4AB1CE25C7E5}" dt="2021-09-03T07:10:47.832" v="4303" actId="21"/>
          <ac:spMkLst>
            <pc:docMk/>
            <pc:sldMk cId="1767967835" sldId="458"/>
            <ac:spMk id="11" creationId="{71E78FEA-6EFF-490B-9C51-B564B7A47779}"/>
          </ac:spMkLst>
        </pc:spChg>
        <pc:spChg chg="add del mod">
          <ac:chgData name="Andreas Weiss" userId="86f45389-4ad9-4ce5-aa22-b4e8edefafef" providerId="ADAL" clId="{BF97026B-F088-444A-89FB-4AB1CE25C7E5}" dt="2021-09-03T07:10:47.832" v="4303" actId="21"/>
          <ac:spMkLst>
            <pc:docMk/>
            <pc:sldMk cId="1767967835" sldId="458"/>
            <ac:spMk id="14" creationId="{089BD645-9FD7-4988-8169-ACD7EC0077D7}"/>
          </ac:spMkLst>
        </pc:spChg>
        <pc:spChg chg="add del mod">
          <ac:chgData name="Andreas Weiss" userId="86f45389-4ad9-4ce5-aa22-b4e8edefafef" providerId="ADAL" clId="{BF97026B-F088-444A-89FB-4AB1CE25C7E5}" dt="2021-09-03T07:11:06.498" v="4310" actId="21"/>
          <ac:spMkLst>
            <pc:docMk/>
            <pc:sldMk cId="1767967835" sldId="458"/>
            <ac:spMk id="15" creationId="{096F5BD1-3178-4FDF-B096-57634A5E12CA}"/>
          </ac:spMkLst>
        </pc:spChg>
        <pc:spChg chg="add del mod">
          <ac:chgData name="Andreas Weiss" userId="86f45389-4ad9-4ce5-aa22-b4e8edefafef" providerId="ADAL" clId="{BF97026B-F088-444A-89FB-4AB1CE25C7E5}" dt="2021-09-03T07:11:21.051" v="4315" actId="21"/>
          <ac:spMkLst>
            <pc:docMk/>
            <pc:sldMk cId="1767967835" sldId="458"/>
            <ac:spMk id="16" creationId="{0F7A05A3-6112-4555-922B-F6A6315E165A}"/>
          </ac:spMkLst>
        </pc:spChg>
        <pc:spChg chg="add del mod">
          <ac:chgData name="Andreas Weiss" userId="86f45389-4ad9-4ce5-aa22-b4e8edefafef" providerId="ADAL" clId="{BF97026B-F088-444A-89FB-4AB1CE25C7E5}" dt="2021-09-06T08:41:29.627" v="7443" actId="478"/>
          <ac:spMkLst>
            <pc:docMk/>
            <pc:sldMk cId="1767967835" sldId="458"/>
            <ac:spMk id="18" creationId="{2519EE88-3557-4EFC-A917-65EAF2FFB39B}"/>
          </ac:spMkLst>
        </pc:spChg>
        <pc:spChg chg="add del mod topLvl">
          <ac:chgData name="Andreas Weiss" userId="86f45389-4ad9-4ce5-aa22-b4e8edefafef" providerId="ADAL" clId="{BF97026B-F088-444A-89FB-4AB1CE25C7E5}" dt="2021-09-06T08:41:31.471" v="7444" actId="478"/>
          <ac:spMkLst>
            <pc:docMk/>
            <pc:sldMk cId="1767967835" sldId="458"/>
            <ac:spMk id="21" creationId="{AF366E7C-F25C-4EBE-A950-8D7A3454A373}"/>
          </ac:spMkLst>
        </pc:spChg>
        <pc:spChg chg="add del mod">
          <ac:chgData name="Andreas Weiss" userId="86f45389-4ad9-4ce5-aa22-b4e8edefafef" providerId="ADAL" clId="{BF97026B-F088-444A-89FB-4AB1CE25C7E5}" dt="2021-09-06T08:41:29.627" v="7443" actId="478"/>
          <ac:spMkLst>
            <pc:docMk/>
            <pc:sldMk cId="1767967835" sldId="458"/>
            <ac:spMk id="22" creationId="{22638ED4-8467-4AC6-8E26-E2B0F464026D}"/>
          </ac:spMkLst>
        </pc:spChg>
        <pc:grpChg chg="add del mod">
          <ac:chgData name="Andreas Weiss" userId="86f45389-4ad9-4ce5-aa22-b4e8edefafef" providerId="ADAL" clId="{BF97026B-F088-444A-89FB-4AB1CE25C7E5}" dt="2021-09-06T08:41:31.471" v="7444" actId="478"/>
          <ac:grpSpMkLst>
            <pc:docMk/>
            <pc:sldMk cId="1767967835" sldId="458"/>
            <ac:grpSpMk id="2" creationId="{E68D42D6-B119-42B6-B132-94877B90BAC2}"/>
          </ac:grpSpMkLst>
        </pc:grpChg>
        <pc:picChg chg="add del mod">
          <ac:chgData name="Andreas Weiss" userId="86f45389-4ad9-4ce5-aa22-b4e8edefafef" providerId="ADAL" clId="{BF97026B-F088-444A-89FB-4AB1CE25C7E5}" dt="2021-09-02T12:46:02.008" v="3313" actId="21"/>
          <ac:picMkLst>
            <pc:docMk/>
            <pc:sldMk cId="1767967835" sldId="458"/>
            <ac:picMk id="9" creationId="{C4A47CCC-6BE6-465A-A507-75BA8733163D}"/>
          </ac:picMkLst>
        </pc:picChg>
        <pc:picChg chg="add del mod">
          <ac:chgData name="Andreas Weiss" userId="86f45389-4ad9-4ce5-aa22-b4e8edefafef" providerId="ADAL" clId="{BF97026B-F088-444A-89FB-4AB1CE25C7E5}" dt="2021-09-02T12:46:02.008" v="3313" actId="21"/>
          <ac:picMkLst>
            <pc:docMk/>
            <pc:sldMk cId="1767967835" sldId="458"/>
            <ac:picMk id="10" creationId="{A2E1D4C7-2E8B-4FDB-94EE-406582E99D70}"/>
          </ac:picMkLst>
        </pc:picChg>
        <pc:picChg chg="add del mod">
          <ac:chgData name="Andreas Weiss" userId="86f45389-4ad9-4ce5-aa22-b4e8edefafef" providerId="ADAL" clId="{BF97026B-F088-444A-89FB-4AB1CE25C7E5}" dt="2021-09-02T14:00:07.563" v="3319" actId="21"/>
          <ac:picMkLst>
            <pc:docMk/>
            <pc:sldMk cId="1767967835" sldId="458"/>
            <ac:picMk id="11" creationId="{FFF838F0-5EF0-4166-9ABD-3EBE25B2C478}"/>
          </ac:picMkLst>
        </pc:picChg>
        <pc:picChg chg="add del mod">
          <ac:chgData name="Andreas Weiss" userId="86f45389-4ad9-4ce5-aa22-b4e8edefafef" providerId="ADAL" clId="{BF97026B-F088-444A-89FB-4AB1CE25C7E5}" dt="2021-09-03T07:32:35.444" v="4463" actId="21"/>
          <ac:picMkLst>
            <pc:docMk/>
            <pc:sldMk cId="1767967835" sldId="458"/>
            <ac:picMk id="12" creationId="{C81CEC86-62E8-4E16-83C1-26618A3445FD}"/>
          </ac:picMkLst>
        </pc:picChg>
        <pc:picChg chg="add del mod ord modCrop">
          <ac:chgData name="Andreas Weiss" userId="86f45389-4ad9-4ce5-aa22-b4e8edefafef" providerId="ADAL" clId="{BF97026B-F088-444A-89FB-4AB1CE25C7E5}" dt="2021-09-03T07:32:35.444" v="4463" actId="21"/>
          <ac:picMkLst>
            <pc:docMk/>
            <pc:sldMk cId="1767967835" sldId="458"/>
            <ac:picMk id="13" creationId="{AC963FCD-33F8-4990-9B77-31DE6C29FF02}"/>
          </ac:picMkLst>
        </pc:picChg>
        <pc:picChg chg="add del mod modCrop">
          <ac:chgData name="Andreas Weiss" userId="86f45389-4ad9-4ce5-aa22-b4e8edefafef" providerId="ADAL" clId="{BF97026B-F088-444A-89FB-4AB1CE25C7E5}" dt="2021-09-03T07:14:37.027" v="4353" actId="21"/>
          <ac:picMkLst>
            <pc:docMk/>
            <pc:sldMk cId="1767967835" sldId="458"/>
            <ac:picMk id="17" creationId="{32B01141-87AC-459C-B118-11A93D75A8E1}"/>
          </ac:picMkLst>
        </pc:picChg>
        <pc:picChg chg="add mod">
          <ac:chgData name="Andreas Weiss" userId="86f45389-4ad9-4ce5-aa22-b4e8edefafef" providerId="ADAL" clId="{BF97026B-F088-444A-89FB-4AB1CE25C7E5}" dt="2021-09-06T08:41:42.195" v="7445" actId="12788"/>
          <ac:picMkLst>
            <pc:docMk/>
            <pc:sldMk cId="1767967835" sldId="458"/>
            <ac:picMk id="19" creationId="{0F70587F-4E25-4D3C-9AAC-A3E62D9CE747}"/>
          </ac:picMkLst>
        </pc:picChg>
        <pc:picChg chg="add mod topLvl">
          <ac:chgData name="Andreas Weiss" userId="86f45389-4ad9-4ce5-aa22-b4e8edefafef" providerId="ADAL" clId="{BF97026B-F088-444A-89FB-4AB1CE25C7E5}" dt="2021-09-06T08:41:42.195" v="7445" actId="12788"/>
          <ac:picMkLst>
            <pc:docMk/>
            <pc:sldMk cId="1767967835" sldId="458"/>
            <ac:picMk id="20" creationId="{7D283AFA-6E56-45BA-AA50-A6745BEC1708}"/>
          </ac:picMkLst>
        </pc:picChg>
      </pc:sldChg>
      <pc:sldChg chg="addSp delSp modSp mod delAnim modAnim">
        <pc:chgData name="Andreas Weiss" userId="86f45389-4ad9-4ce5-aa22-b4e8edefafef" providerId="ADAL" clId="{BF97026B-F088-444A-89FB-4AB1CE25C7E5}" dt="2021-09-06T12:21:38.180" v="8712" actId="6549"/>
        <pc:sldMkLst>
          <pc:docMk/>
          <pc:sldMk cId="2192905612" sldId="459"/>
        </pc:sldMkLst>
        <pc:spChg chg="add del mod">
          <ac:chgData name="Andreas Weiss" userId="86f45389-4ad9-4ce5-aa22-b4e8edefafef" providerId="ADAL" clId="{BF97026B-F088-444A-89FB-4AB1CE25C7E5}" dt="2021-09-03T07:14:46.285" v="4356" actId="478"/>
          <ac:spMkLst>
            <pc:docMk/>
            <pc:sldMk cId="2192905612" sldId="459"/>
            <ac:spMk id="3" creationId="{5BA28E80-B215-4E7D-AFA6-95A85EAD7545}"/>
          </ac:spMkLst>
        </pc:spChg>
        <pc:spChg chg="add del mod">
          <ac:chgData name="Andreas Weiss" userId="86f45389-4ad9-4ce5-aa22-b4e8edefafef" providerId="ADAL" clId="{BF97026B-F088-444A-89FB-4AB1CE25C7E5}" dt="2021-09-03T07:28:16.455" v="4380" actId="478"/>
          <ac:spMkLst>
            <pc:docMk/>
            <pc:sldMk cId="2192905612" sldId="459"/>
            <ac:spMk id="4" creationId="{7BFF0C6E-59B1-4DE5-925B-756852827F8B}"/>
          </ac:spMkLst>
        </pc:spChg>
        <pc:spChg chg="mod">
          <ac:chgData name="Andreas Weiss" userId="86f45389-4ad9-4ce5-aa22-b4e8edefafef" providerId="ADAL" clId="{BF97026B-F088-444A-89FB-4AB1CE25C7E5}" dt="2021-09-06T08:41:14.304" v="7439" actId="1076"/>
          <ac:spMkLst>
            <pc:docMk/>
            <pc:sldMk cId="2192905612" sldId="459"/>
            <ac:spMk id="6" creationId="{00000000-0000-0000-0000-000000000000}"/>
          </ac:spMkLst>
        </pc:spChg>
        <pc:spChg chg="del mod">
          <ac:chgData name="Andreas Weiss" userId="86f45389-4ad9-4ce5-aa22-b4e8edefafef" providerId="ADAL" clId="{BF97026B-F088-444A-89FB-4AB1CE25C7E5}" dt="2021-09-03T07:14:43.871" v="4355" actId="478"/>
          <ac:spMkLst>
            <pc:docMk/>
            <pc:sldMk cId="2192905612" sldId="459"/>
            <ac:spMk id="7" creationId="{00000000-0000-0000-0000-000000000000}"/>
          </ac:spMkLst>
        </pc:spChg>
        <pc:spChg chg="add del mod">
          <ac:chgData name="Andreas Weiss" userId="86f45389-4ad9-4ce5-aa22-b4e8edefafef" providerId="ADAL" clId="{BF97026B-F088-444A-89FB-4AB1CE25C7E5}" dt="2021-09-03T07:10:36.468" v="4300" actId="21"/>
          <ac:spMkLst>
            <pc:docMk/>
            <pc:sldMk cId="2192905612" sldId="459"/>
            <ac:spMk id="11" creationId="{AA8A507B-637F-4F29-8EF6-2EBC634CD1A5}"/>
          </ac:spMkLst>
        </pc:spChg>
        <pc:spChg chg="add del mod">
          <ac:chgData name="Andreas Weiss" userId="86f45389-4ad9-4ce5-aa22-b4e8edefafef" providerId="ADAL" clId="{BF97026B-F088-444A-89FB-4AB1CE25C7E5}" dt="2021-09-03T07:10:36.468" v="4300" actId="21"/>
          <ac:spMkLst>
            <pc:docMk/>
            <pc:sldMk cId="2192905612" sldId="459"/>
            <ac:spMk id="12" creationId="{631085F4-629C-4BD0-9420-535BAB5B6762}"/>
          </ac:spMkLst>
        </pc:spChg>
        <pc:spChg chg="add del mod">
          <ac:chgData name="Andreas Weiss" userId="86f45389-4ad9-4ce5-aa22-b4e8edefafef" providerId="ADAL" clId="{BF97026B-F088-444A-89FB-4AB1CE25C7E5}" dt="2021-09-03T07:11:11.148" v="4312" actId="21"/>
          <ac:spMkLst>
            <pc:docMk/>
            <pc:sldMk cId="2192905612" sldId="459"/>
            <ac:spMk id="13" creationId="{F930936B-0CDB-47DC-B015-36A3FE3B464E}"/>
          </ac:spMkLst>
        </pc:spChg>
        <pc:spChg chg="add del mod">
          <ac:chgData name="Andreas Weiss" userId="86f45389-4ad9-4ce5-aa22-b4e8edefafef" providerId="ADAL" clId="{BF97026B-F088-444A-89FB-4AB1CE25C7E5}" dt="2021-09-03T07:10:59.385" v="4307" actId="21"/>
          <ac:spMkLst>
            <pc:docMk/>
            <pc:sldMk cId="2192905612" sldId="459"/>
            <ac:spMk id="14" creationId="{A9A7B3B8-4018-4F6B-86D5-5581541B4CBC}"/>
          </ac:spMkLst>
        </pc:spChg>
        <pc:spChg chg="add mod">
          <ac:chgData name="Andreas Weiss" userId="86f45389-4ad9-4ce5-aa22-b4e8edefafef" providerId="ADAL" clId="{BF97026B-F088-444A-89FB-4AB1CE25C7E5}" dt="2021-09-06T12:21:38.180" v="8712" actId="6549"/>
          <ac:spMkLst>
            <pc:docMk/>
            <pc:sldMk cId="2192905612" sldId="459"/>
            <ac:spMk id="15" creationId="{C1A1E79C-9E21-4F5B-9EB4-E512D88DDDF1}"/>
          </ac:spMkLst>
        </pc:spChg>
        <pc:spChg chg="add mod">
          <ac:chgData name="Andreas Weiss" userId="86f45389-4ad9-4ce5-aa22-b4e8edefafef" providerId="ADAL" clId="{BF97026B-F088-444A-89FB-4AB1CE25C7E5}" dt="2021-09-06T12:19:48.293" v="8711" actId="20577"/>
          <ac:spMkLst>
            <pc:docMk/>
            <pc:sldMk cId="2192905612" sldId="459"/>
            <ac:spMk id="16" creationId="{50BEB1BA-15F8-40D8-A9C2-E0B077ADE420}"/>
          </ac:spMkLst>
        </pc:spChg>
        <pc:spChg chg="add del mod">
          <ac:chgData name="Andreas Weiss" userId="86f45389-4ad9-4ce5-aa22-b4e8edefafef" providerId="ADAL" clId="{BF97026B-F088-444A-89FB-4AB1CE25C7E5}" dt="2021-09-03T07:32:46.110" v="4466" actId="21"/>
          <ac:spMkLst>
            <pc:docMk/>
            <pc:sldMk cId="2192905612" sldId="459"/>
            <ac:spMk id="19" creationId="{0BA1FE5E-26C8-4C89-8ED0-007DAFB49A67}"/>
          </ac:spMkLst>
        </pc:spChg>
        <pc:spChg chg="add del mod">
          <ac:chgData name="Andreas Weiss" userId="86f45389-4ad9-4ce5-aa22-b4e8edefafef" providerId="ADAL" clId="{BF97026B-F088-444A-89FB-4AB1CE25C7E5}" dt="2021-09-06T08:41:22.352" v="7441" actId="478"/>
          <ac:spMkLst>
            <pc:docMk/>
            <pc:sldMk cId="2192905612" sldId="459"/>
            <ac:spMk id="20" creationId="{9679DC08-2EC3-4B82-9CB6-9E7244093849}"/>
          </ac:spMkLst>
        </pc:spChg>
        <pc:spChg chg="add del mod topLvl">
          <ac:chgData name="Andreas Weiss" userId="86f45389-4ad9-4ce5-aa22-b4e8edefafef" providerId="ADAL" clId="{BF97026B-F088-444A-89FB-4AB1CE25C7E5}" dt="2021-09-06T08:41:24.648" v="7442" actId="478"/>
          <ac:spMkLst>
            <pc:docMk/>
            <pc:sldMk cId="2192905612" sldId="459"/>
            <ac:spMk id="21" creationId="{FB7E2B61-6E41-4699-8E28-8482DBBCBEDD}"/>
          </ac:spMkLst>
        </pc:spChg>
        <pc:spChg chg="add del mod">
          <ac:chgData name="Andreas Weiss" userId="86f45389-4ad9-4ce5-aa22-b4e8edefafef" providerId="ADAL" clId="{BF97026B-F088-444A-89FB-4AB1CE25C7E5}" dt="2021-09-06T08:41:20.993" v="7440" actId="478"/>
          <ac:spMkLst>
            <pc:docMk/>
            <pc:sldMk cId="2192905612" sldId="459"/>
            <ac:spMk id="25" creationId="{4DE37A6F-7088-472B-8E68-059C83917EC9}"/>
          </ac:spMkLst>
        </pc:spChg>
        <pc:grpChg chg="add del mod">
          <ac:chgData name="Andreas Weiss" userId="86f45389-4ad9-4ce5-aa22-b4e8edefafef" providerId="ADAL" clId="{BF97026B-F088-444A-89FB-4AB1CE25C7E5}" dt="2021-09-06T08:41:24.648" v="7442" actId="478"/>
          <ac:grpSpMkLst>
            <pc:docMk/>
            <pc:sldMk cId="2192905612" sldId="459"/>
            <ac:grpSpMk id="22" creationId="{C5880B8D-9DA8-4C16-9D8D-62095BFDF6CD}"/>
          </ac:grpSpMkLst>
        </pc:grpChg>
        <pc:grpChg chg="add mod">
          <ac:chgData name="Andreas Weiss" userId="86f45389-4ad9-4ce5-aa22-b4e8edefafef" providerId="ADAL" clId="{BF97026B-F088-444A-89FB-4AB1CE25C7E5}" dt="2021-09-03T09:37:28.130" v="7006" actId="164"/>
          <ac:grpSpMkLst>
            <pc:docMk/>
            <pc:sldMk cId="2192905612" sldId="459"/>
            <ac:grpSpMk id="26" creationId="{3791811E-9BA1-4EEF-B16D-67DBE61DC43D}"/>
          </ac:grpSpMkLst>
        </pc:grpChg>
        <pc:picChg chg="add mod">
          <ac:chgData name="Andreas Weiss" userId="86f45389-4ad9-4ce5-aa22-b4e8edefafef" providerId="ADAL" clId="{BF97026B-F088-444A-89FB-4AB1CE25C7E5}" dt="2021-09-06T08:41:51.666" v="7446" actId="12788"/>
          <ac:picMkLst>
            <pc:docMk/>
            <pc:sldMk cId="2192905612" sldId="459"/>
            <ac:picMk id="9" creationId="{F42285D2-B1B4-4C88-A2B5-29917B21C3B7}"/>
          </ac:picMkLst>
        </pc:picChg>
        <pc:picChg chg="add del mod">
          <ac:chgData name="Andreas Weiss" userId="86f45389-4ad9-4ce5-aa22-b4e8edefafef" providerId="ADAL" clId="{BF97026B-F088-444A-89FB-4AB1CE25C7E5}" dt="2021-09-03T07:11:28.181" v="4317" actId="21"/>
          <ac:picMkLst>
            <pc:docMk/>
            <pc:sldMk cId="2192905612" sldId="459"/>
            <ac:picMk id="10" creationId="{D9A38D73-D6F5-44ED-98BF-4E4C4A0EA03A}"/>
          </ac:picMkLst>
        </pc:picChg>
        <pc:picChg chg="add del mod">
          <ac:chgData name="Andreas Weiss" userId="86f45389-4ad9-4ce5-aa22-b4e8edefafef" providerId="ADAL" clId="{BF97026B-F088-444A-89FB-4AB1CE25C7E5}" dt="2021-09-02T14:00:30.130" v="3324" actId="21"/>
          <ac:picMkLst>
            <pc:docMk/>
            <pc:sldMk cId="2192905612" sldId="459"/>
            <ac:picMk id="11" creationId="{E02E33D6-F842-485E-80DE-CDB0C3D67B7F}"/>
          </ac:picMkLst>
        </pc:picChg>
        <pc:picChg chg="add del mod">
          <ac:chgData name="Andreas Weiss" userId="86f45389-4ad9-4ce5-aa22-b4e8edefafef" providerId="ADAL" clId="{BF97026B-F088-444A-89FB-4AB1CE25C7E5}" dt="2021-09-03T07:13:34.904" v="4342"/>
          <ac:picMkLst>
            <pc:docMk/>
            <pc:sldMk cId="2192905612" sldId="459"/>
            <ac:picMk id="17" creationId="{55BB32BF-7A05-4807-A1E5-BFA8A0BA55F6}"/>
          </ac:picMkLst>
        </pc:picChg>
        <pc:picChg chg="add mod topLvl">
          <ac:chgData name="Andreas Weiss" userId="86f45389-4ad9-4ce5-aa22-b4e8edefafef" providerId="ADAL" clId="{BF97026B-F088-444A-89FB-4AB1CE25C7E5}" dt="2021-09-06T08:41:51.666" v="7446" actId="12788"/>
          <ac:picMkLst>
            <pc:docMk/>
            <pc:sldMk cId="2192905612" sldId="459"/>
            <ac:picMk id="18" creationId="{1714E2F8-BEF2-4A42-8E19-598753735193}"/>
          </ac:picMkLst>
        </pc:picChg>
        <pc:picChg chg="add del mod">
          <ac:chgData name="Andreas Weiss" userId="86f45389-4ad9-4ce5-aa22-b4e8edefafef" providerId="ADAL" clId="{BF97026B-F088-444A-89FB-4AB1CE25C7E5}" dt="2021-09-03T07:32:46.110" v="4466" actId="21"/>
          <ac:picMkLst>
            <pc:docMk/>
            <pc:sldMk cId="2192905612" sldId="459"/>
            <ac:picMk id="23" creationId="{2C6C2ABB-D6EA-4438-89EF-C2834C40F59F}"/>
          </ac:picMkLst>
        </pc:picChg>
        <pc:picChg chg="add del mod">
          <ac:chgData name="Andreas Weiss" userId="86f45389-4ad9-4ce5-aa22-b4e8edefafef" providerId="ADAL" clId="{BF97026B-F088-444A-89FB-4AB1CE25C7E5}" dt="2021-09-03T07:33:08.976" v="4470" actId="21"/>
          <ac:picMkLst>
            <pc:docMk/>
            <pc:sldMk cId="2192905612" sldId="459"/>
            <ac:picMk id="24" creationId="{587CC4B3-8EB9-41DE-8F8E-38C22679BE9F}"/>
          </ac:picMkLst>
        </pc:picChg>
      </pc:sldChg>
      <pc:sldChg chg="addSp delSp modSp mod addAnim delAnim modAnim">
        <pc:chgData name="Andreas Weiss" userId="86f45389-4ad9-4ce5-aa22-b4e8edefafef" providerId="ADAL" clId="{BF97026B-F088-444A-89FB-4AB1CE25C7E5}" dt="2021-09-06T11:34:24.008" v="8193" actId="20577"/>
        <pc:sldMkLst>
          <pc:docMk/>
          <pc:sldMk cId="368633060" sldId="460"/>
        </pc:sldMkLst>
        <pc:spChg chg="add del mod">
          <ac:chgData name="Andreas Weiss" userId="86f45389-4ad9-4ce5-aa22-b4e8edefafef" providerId="ADAL" clId="{BF97026B-F088-444A-89FB-4AB1CE25C7E5}" dt="2021-09-03T08:04:23.690" v="4921" actId="21"/>
          <ac:spMkLst>
            <pc:docMk/>
            <pc:sldMk cId="368633060" sldId="460"/>
            <ac:spMk id="3" creationId="{AFE0DD27-5C99-403B-9003-272A6EEA3AB6}"/>
          </ac:spMkLst>
        </pc:spChg>
        <pc:spChg chg="add del mod">
          <ac:chgData name="Andreas Weiss" userId="86f45389-4ad9-4ce5-aa22-b4e8edefafef" providerId="ADAL" clId="{BF97026B-F088-444A-89FB-4AB1CE25C7E5}" dt="2021-09-06T07:14:48.675" v="7095" actId="478"/>
          <ac:spMkLst>
            <pc:docMk/>
            <pc:sldMk cId="368633060" sldId="460"/>
            <ac:spMk id="4" creationId="{1AB02CFF-AC20-42CC-97FD-2575EF4DCFAE}"/>
          </ac:spMkLst>
        </pc:spChg>
        <pc:spChg chg="del mod">
          <ac:chgData name="Andreas Weiss" userId="86f45389-4ad9-4ce5-aa22-b4e8edefafef" providerId="ADAL" clId="{BF97026B-F088-444A-89FB-4AB1CE25C7E5}" dt="2021-09-06T08:05:01.053" v="7262" actId="478"/>
          <ac:spMkLst>
            <pc:docMk/>
            <pc:sldMk cId="368633060" sldId="460"/>
            <ac:spMk id="5" creationId="{00000000-0000-0000-0000-000000000000}"/>
          </ac:spMkLst>
        </pc:spChg>
        <pc:spChg chg="mod">
          <ac:chgData name="Andreas Weiss" userId="86f45389-4ad9-4ce5-aa22-b4e8edefafef" providerId="ADAL" clId="{BF97026B-F088-444A-89FB-4AB1CE25C7E5}" dt="2021-09-03T08:33:36.157" v="6319" actId="20577"/>
          <ac:spMkLst>
            <pc:docMk/>
            <pc:sldMk cId="368633060" sldId="460"/>
            <ac:spMk id="6" creationId="{00000000-0000-0000-0000-000000000000}"/>
          </ac:spMkLst>
        </pc:spChg>
        <pc:spChg chg="del mod">
          <ac:chgData name="Andreas Weiss" userId="86f45389-4ad9-4ce5-aa22-b4e8edefafef" providerId="ADAL" clId="{BF97026B-F088-444A-89FB-4AB1CE25C7E5}" dt="2021-09-06T07:14:44.751" v="7093" actId="478"/>
          <ac:spMkLst>
            <pc:docMk/>
            <pc:sldMk cId="368633060" sldId="460"/>
            <ac:spMk id="7" creationId="{00000000-0000-0000-0000-000000000000}"/>
          </ac:spMkLst>
        </pc:spChg>
        <pc:spChg chg="add del mod">
          <ac:chgData name="Andreas Weiss" userId="86f45389-4ad9-4ce5-aa22-b4e8edefafef" providerId="ADAL" clId="{BF97026B-F088-444A-89FB-4AB1CE25C7E5}" dt="2021-09-06T07:28:58.387" v="7158" actId="21"/>
          <ac:spMkLst>
            <pc:docMk/>
            <pc:sldMk cId="368633060" sldId="460"/>
            <ac:spMk id="9" creationId="{69535785-3C3E-49A4-9112-DD7971D5191E}"/>
          </ac:spMkLst>
        </pc:spChg>
        <pc:spChg chg="add del mod">
          <ac:chgData name="Andreas Weiss" userId="86f45389-4ad9-4ce5-aa22-b4e8edefafef" providerId="ADAL" clId="{BF97026B-F088-444A-89FB-4AB1CE25C7E5}" dt="2021-09-06T07:14:46.780" v="7094" actId="478"/>
          <ac:spMkLst>
            <pc:docMk/>
            <pc:sldMk cId="368633060" sldId="460"/>
            <ac:spMk id="10" creationId="{277F0682-DE67-4802-8B34-710461A79374}"/>
          </ac:spMkLst>
        </pc:spChg>
        <pc:spChg chg="add del mod">
          <ac:chgData name="Andreas Weiss" userId="86f45389-4ad9-4ce5-aa22-b4e8edefafef" providerId="ADAL" clId="{BF97026B-F088-444A-89FB-4AB1CE25C7E5}" dt="2021-09-03T08:21:40.411" v="5945" actId="478"/>
          <ac:spMkLst>
            <pc:docMk/>
            <pc:sldMk cId="368633060" sldId="460"/>
            <ac:spMk id="10" creationId="{4E0A9474-1C0D-4B95-85DE-36F5C2E6F9F7}"/>
          </ac:spMkLst>
        </pc:spChg>
        <pc:spChg chg="add del mod">
          <ac:chgData name="Andreas Weiss" userId="86f45389-4ad9-4ce5-aa22-b4e8edefafef" providerId="ADAL" clId="{BF97026B-F088-444A-89FB-4AB1CE25C7E5}" dt="2021-09-06T07:23:00.407" v="7149" actId="478"/>
          <ac:spMkLst>
            <pc:docMk/>
            <pc:sldMk cId="368633060" sldId="460"/>
            <ac:spMk id="11" creationId="{4E24EAD6-E815-4D2B-ABDC-22AD7EE89B16}"/>
          </ac:spMkLst>
        </pc:spChg>
        <pc:spChg chg="add del">
          <ac:chgData name="Andreas Weiss" userId="86f45389-4ad9-4ce5-aa22-b4e8edefafef" providerId="ADAL" clId="{BF97026B-F088-444A-89FB-4AB1CE25C7E5}" dt="2021-09-06T07:19:21.592" v="7144" actId="22"/>
          <ac:spMkLst>
            <pc:docMk/>
            <pc:sldMk cId="368633060" sldId="460"/>
            <ac:spMk id="13" creationId="{4A54D922-3292-4A76-A3E6-7D876227A3F6}"/>
          </ac:spMkLst>
        </pc:spChg>
        <pc:spChg chg="add del">
          <ac:chgData name="Andreas Weiss" userId="86f45389-4ad9-4ce5-aa22-b4e8edefafef" providerId="ADAL" clId="{BF97026B-F088-444A-89FB-4AB1CE25C7E5}" dt="2021-09-06T07:19:32.390" v="7147" actId="22"/>
          <ac:spMkLst>
            <pc:docMk/>
            <pc:sldMk cId="368633060" sldId="460"/>
            <ac:spMk id="15" creationId="{87DF60B5-3FA3-4560-AB25-21D75D13DB2E}"/>
          </ac:spMkLst>
        </pc:spChg>
        <pc:spChg chg="add del mod">
          <ac:chgData name="Andreas Weiss" userId="86f45389-4ad9-4ce5-aa22-b4e8edefafef" providerId="ADAL" clId="{BF97026B-F088-444A-89FB-4AB1CE25C7E5}" dt="2021-09-06T08:17:19.559" v="7284" actId="1035"/>
          <ac:spMkLst>
            <pc:docMk/>
            <pc:sldMk cId="368633060" sldId="460"/>
            <ac:spMk id="16" creationId="{24E5107D-A2FD-4366-A403-C2CA3F9AC3A0}"/>
          </ac:spMkLst>
        </pc:spChg>
        <pc:spChg chg="add del">
          <ac:chgData name="Andreas Weiss" userId="86f45389-4ad9-4ce5-aa22-b4e8edefafef" providerId="ADAL" clId="{BF97026B-F088-444A-89FB-4AB1CE25C7E5}" dt="2021-09-06T08:02:29.269" v="7162" actId="22"/>
          <ac:spMkLst>
            <pc:docMk/>
            <pc:sldMk cId="368633060" sldId="460"/>
            <ac:spMk id="18" creationId="{B199E9EA-72C5-4B44-ABB5-F70E136AD92A}"/>
          </ac:spMkLst>
        </pc:spChg>
        <pc:spChg chg="add del">
          <ac:chgData name="Andreas Weiss" userId="86f45389-4ad9-4ce5-aa22-b4e8edefafef" providerId="ADAL" clId="{BF97026B-F088-444A-89FB-4AB1CE25C7E5}" dt="2021-09-06T08:02:33.371" v="7166" actId="22"/>
          <ac:spMkLst>
            <pc:docMk/>
            <pc:sldMk cId="368633060" sldId="460"/>
            <ac:spMk id="20" creationId="{49ACB165-B0F8-47FE-BB72-DEB921BF9F17}"/>
          </ac:spMkLst>
        </pc:spChg>
        <pc:spChg chg="add mod">
          <ac:chgData name="Andreas Weiss" userId="86f45389-4ad9-4ce5-aa22-b4e8edefafef" providerId="ADAL" clId="{BF97026B-F088-444A-89FB-4AB1CE25C7E5}" dt="2021-09-06T11:34:24.008" v="8193" actId="20577"/>
          <ac:spMkLst>
            <pc:docMk/>
            <pc:sldMk cId="368633060" sldId="460"/>
            <ac:spMk id="21" creationId="{BE4B0044-C517-4809-A031-68B78C724717}"/>
          </ac:spMkLst>
        </pc:spChg>
        <pc:graphicFrameChg chg="add mod modGraphic">
          <ac:chgData name="Andreas Weiss" userId="86f45389-4ad9-4ce5-aa22-b4e8edefafef" providerId="ADAL" clId="{BF97026B-F088-444A-89FB-4AB1CE25C7E5}" dt="2021-09-06T08:17:19.559" v="7284" actId="1035"/>
          <ac:graphicFrameMkLst>
            <pc:docMk/>
            <pc:sldMk cId="368633060" sldId="460"/>
            <ac:graphicFrameMk id="2" creationId="{3E22EC5C-AF74-49CE-875C-C34E67ADD210}"/>
          </ac:graphicFrameMkLst>
        </pc:graphicFrameChg>
      </pc:sldChg>
      <pc:sldChg chg="addSp delSp modSp mod delAnim modAnim delCm modCm">
        <pc:chgData name="Andreas Weiss" userId="86f45389-4ad9-4ce5-aa22-b4e8edefafef" providerId="ADAL" clId="{BF97026B-F088-444A-89FB-4AB1CE25C7E5}" dt="2021-09-06T11:49:31.162" v="8499" actId="20577"/>
        <pc:sldMkLst>
          <pc:docMk/>
          <pc:sldMk cId="3213435743" sldId="461"/>
        </pc:sldMkLst>
        <pc:spChg chg="del">
          <ac:chgData name="Andreas Weiss" userId="86f45389-4ad9-4ce5-aa22-b4e8edefafef" providerId="ADAL" clId="{BF97026B-F088-444A-89FB-4AB1CE25C7E5}" dt="2021-09-03T09:24:09.033" v="6573" actId="478"/>
          <ac:spMkLst>
            <pc:docMk/>
            <pc:sldMk cId="3213435743" sldId="461"/>
            <ac:spMk id="5" creationId="{00000000-0000-0000-0000-000000000000}"/>
          </ac:spMkLst>
        </pc:spChg>
        <pc:spChg chg="mod">
          <ac:chgData name="Andreas Weiss" userId="86f45389-4ad9-4ce5-aa22-b4e8edefafef" providerId="ADAL" clId="{BF97026B-F088-444A-89FB-4AB1CE25C7E5}" dt="2021-09-03T08:33:14.606" v="6253"/>
          <ac:spMkLst>
            <pc:docMk/>
            <pc:sldMk cId="3213435743" sldId="461"/>
            <ac:spMk id="6" creationId="{00000000-0000-0000-0000-000000000000}"/>
          </ac:spMkLst>
        </pc:spChg>
        <pc:spChg chg="mod">
          <ac:chgData name="Andreas Weiss" userId="86f45389-4ad9-4ce5-aa22-b4e8edefafef" providerId="ADAL" clId="{BF97026B-F088-444A-89FB-4AB1CE25C7E5}" dt="2021-09-06T11:49:31.162" v="8499" actId="20577"/>
          <ac:spMkLst>
            <pc:docMk/>
            <pc:sldMk cId="3213435743" sldId="461"/>
            <ac:spMk id="7" creationId="{00000000-0000-0000-0000-000000000000}"/>
          </ac:spMkLst>
        </pc:spChg>
        <pc:spChg chg="add del mod">
          <ac:chgData name="Andreas Weiss" userId="86f45389-4ad9-4ce5-aa22-b4e8edefafef" providerId="ADAL" clId="{BF97026B-F088-444A-89FB-4AB1CE25C7E5}" dt="2021-09-03T08:30:04.268" v="6112" actId="478"/>
          <ac:spMkLst>
            <pc:docMk/>
            <pc:sldMk cId="3213435743" sldId="461"/>
            <ac:spMk id="9" creationId="{E94D4BCC-B1F2-4692-B940-73AF6413D754}"/>
          </ac:spMkLst>
        </pc:spChg>
        <pc:spChg chg="add del mod">
          <ac:chgData name="Andreas Weiss" userId="86f45389-4ad9-4ce5-aa22-b4e8edefafef" providerId="ADAL" clId="{BF97026B-F088-444A-89FB-4AB1CE25C7E5}" dt="2021-09-06T08:55:05.245" v="7714"/>
          <ac:spMkLst>
            <pc:docMk/>
            <pc:sldMk cId="3213435743" sldId="461"/>
            <ac:spMk id="16" creationId="{CF7F6AA8-0BB1-427B-828D-265CFD984F25}"/>
          </ac:spMkLst>
        </pc:spChg>
        <pc:spChg chg="add del mod">
          <ac:chgData name="Andreas Weiss" userId="86f45389-4ad9-4ce5-aa22-b4e8edefafef" providerId="ADAL" clId="{BF97026B-F088-444A-89FB-4AB1CE25C7E5}" dt="2021-09-06T08:55:15.750" v="7719" actId="478"/>
          <ac:spMkLst>
            <pc:docMk/>
            <pc:sldMk cId="3213435743" sldId="461"/>
            <ac:spMk id="17" creationId="{7D75A842-E536-4BEC-85F3-B11617146941}"/>
          </ac:spMkLst>
        </pc:spChg>
        <pc:spChg chg="add mod">
          <ac:chgData name="Andreas Weiss" userId="86f45389-4ad9-4ce5-aa22-b4e8edefafef" providerId="ADAL" clId="{BF97026B-F088-444A-89FB-4AB1CE25C7E5}" dt="2021-09-03T09:30:09.042" v="6760" actId="164"/>
          <ac:spMkLst>
            <pc:docMk/>
            <pc:sldMk cId="3213435743" sldId="461"/>
            <ac:spMk id="25" creationId="{42CABE61-D897-4ABC-B17A-2BB950F3CA32}"/>
          </ac:spMkLst>
        </pc:spChg>
        <pc:spChg chg="add mod">
          <ac:chgData name="Andreas Weiss" userId="86f45389-4ad9-4ce5-aa22-b4e8edefafef" providerId="ADAL" clId="{BF97026B-F088-444A-89FB-4AB1CE25C7E5}" dt="2021-09-03T09:33:18.543" v="6886" actId="6549"/>
          <ac:spMkLst>
            <pc:docMk/>
            <pc:sldMk cId="3213435743" sldId="461"/>
            <ac:spMk id="26" creationId="{BC488BA9-F1FE-448C-A137-B13A5CB359EF}"/>
          </ac:spMkLst>
        </pc:spChg>
        <pc:spChg chg="add del mod">
          <ac:chgData name="Andreas Weiss" userId="86f45389-4ad9-4ce5-aa22-b4e8edefafef" providerId="ADAL" clId="{BF97026B-F088-444A-89FB-4AB1CE25C7E5}" dt="2021-09-03T09:25:50.261" v="6681" actId="21"/>
          <ac:spMkLst>
            <pc:docMk/>
            <pc:sldMk cId="3213435743" sldId="461"/>
            <ac:spMk id="27" creationId="{9DFE03AC-09C0-4358-BCC1-B91A4018A699}"/>
          </ac:spMkLst>
        </pc:spChg>
        <pc:spChg chg="add del mod">
          <ac:chgData name="Andreas Weiss" userId="86f45389-4ad9-4ce5-aa22-b4e8edefafef" providerId="ADAL" clId="{BF97026B-F088-444A-89FB-4AB1CE25C7E5}" dt="2021-09-03T09:26:18.862" v="6691"/>
          <ac:spMkLst>
            <pc:docMk/>
            <pc:sldMk cId="3213435743" sldId="461"/>
            <ac:spMk id="29" creationId="{6A702E68-5BC1-418D-8EFC-E24A8DB4C8A4}"/>
          </ac:spMkLst>
        </pc:spChg>
        <pc:spChg chg="add mod">
          <ac:chgData name="Andreas Weiss" userId="86f45389-4ad9-4ce5-aa22-b4e8edefafef" providerId="ADAL" clId="{BF97026B-F088-444A-89FB-4AB1CE25C7E5}" dt="2021-09-03T09:30:09.042" v="6760" actId="164"/>
          <ac:spMkLst>
            <pc:docMk/>
            <pc:sldMk cId="3213435743" sldId="461"/>
            <ac:spMk id="31" creationId="{4E446D0C-581F-4C99-9770-E90A6B081C83}"/>
          </ac:spMkLst>
        </pc:spChg>
        <pc:spChg chg="add mod">
          <ac:chgData name="Andreas Weiss" userId="86f45389-4ad9-4ce5-aa22-b4e8edefafef" providerId="ADAL" clId="{BF97026B-F088-444A-89FB-4AB1CE25C7E5}" dt="2021-09-03T09:30:09.042" v="6760" actId="164"/>
          <ac:spMkLst>
            <pc:docMk/>
            <pc:sldMk cId="3213435743" sldId="461"/>
            <ac:spMk id="33" creationId="{6351CD3D-FB85-4508-A660-32CCA829BA6B}"/>
          </ac:spMkLst>
        </pc:spChg>
        <pc:spChg chg="add mod">
          <ac:chgData name="Andreas Weiss" userId="86f45389-4ad9-4ce5-aa22-b4e8edefafef" providerId="ADAL" clId="{BF97026B-F088-444A-89FB-4AB1CE25C7E5}" dt="2021-09-03T09:30:09.042" v="6760" actId="164"/>
          <ac:spMkLst>
            <pc:docMk/>
            <pc:sldMk cId="3213435743" sldId="461"/>
            <ac:spMk id="35" creationId="{69298E08-56F0-4BCD-8819-12F3F76BD3B1}"/>
          </ac:spMkLst>
        </pc:spChg>
        <pc:spChg chg="add del mod">
          <ac:chgData name="Andreas Weiss" userId="86f45389-4ad9-4ce5-aa22-b4e8edefafef" providerId="ADAL" clId="{BF97026B-F088-444A-89FB-4AB1CE25C7E5}" dt="2021-09-03T09:28:56.323" v="6756" actId="21"/>
          <ac:spMkLst>
            <pc:docMk/>
            <pc:sldMk cId="3213435743" sldId="461"/>
            <ac:spMk id="36" creationId="{E81A6D2E-49EF-4637-840D-85472A151510}"/>
          </ac:spMkLst>
        </pc:spChg>
        <pc:grpChg chg="add mod">
          <ac:chgData name="Andreas Weiss" userId="86f45389-4ad9-4ce5-aa22-b4e8edefafef" providerId="ADAL" clId="{BF97026B-F088-444A-89FB-4AB1CE25C7E5}" dt="2021-09-03T09:30:48.726" v="6765" actId="12788"/>
          <ac:grpSpMkLst>
            <pc:docMk/>
            <pc:sldMk cId="3213435743" sldId="461"/>
            <ac:grpSpMk id="37" creationId="{560FC6E1-F6BE-4A55-A15C-DB4D9932ED25}"/>
          </ac:grpSpMkLst>
        </pc:grpChg>
        <pc:picChg chg="add del mod ord">
          <ac:chgData name="Andreas Weiss" userId="86f45389-4ad9-4ce5-aa22-b4e8edefafef" providerId="ADAL" clId="{BF97026B-F088-444A-89FB-4AB1CE25C7E5}" dt="2021-09-03T08:43:10.406" v="6414" actId="478"/>
          <ac:picMkLst>
            <pc:docMk/>
            <pc:sldMk cId="3213435743" sldId="461"/>
            <ac:picMk id="4" creationId="{DC319EE8-8722-4978-8BA0-F32914304445}"/>
          </ac:picMkLst>
        </pc:picChg>
        <pc:picChg chg="add del mod">
          <ac:chgData name="Andreas Weiss" userId="86f45389-4ad9-4ce5-aa22-b4e8edefafef" providerId="ADAL" clId="{BF97026B-F088-444A-89FB-4AB1CE25C7E5}" dt="2021-09-03T08:40:15.501" v="6375" actId="478"/>
          <ac:picMkLst>
            <pc:docMk/>
            <pc:sldMk cId="3213435743" sldId="461"/>
            <ac:picMk id="10" creationId="{F17645BC-6ADC-4E3D-95F6-7B0047E99F7A}"/>
          </ac:picMkLst>
        </pc:picChg>
        <pc:picChg chg="add del mod">
          <ac:chgData name="Andreas Weiss" userId="86f45389-4ad9-4ce5-aa22-b4e8edefafef" providerId="ADAL" clId="{BF97026B-F088-444A-89FB-4AB1CE25C7E5}" dt="2021-09-03T08:40:15.085" v="6374" actId="478"/>
          <ac:picMkLst>
            <pc:docMk/>
            <pc:sldMk cId="3213435743" sldId="461"/>
            <ac:picMk id="11" creationId="{BB5E6D20-D08A-4D61-8DC4-88F94A1DA84C}"/>
          </ac:picMkLst>
        </pc:picChg>
        <pc:picChg chg="add del mod">
          <ac:chgData name="Andreas Weiss" userId="86f45389-4ad9-4ce5-aa22-b4e8edefafef" providerId="ADAL" clId="{BF97026B-F088-444A-89FB-4AB1CE25C7E5}" dt="2021-09-03T08:43:10.805" v="6415" actId="478"/>
          <ac:picMkLst>
            <pc:docMk/>
            <pc:sldMk cId="3213435743" sldId="461"/>
            <ac:picMk id="13" creationId="{37A22758-BC03-4CFB-A537-782B3087ACF1}"/>
          </ac:picMkLst>
        </pc:picChg>
        <pc:picChg chg="add mod">
          <ac:chgData name="Andreas Weiss" userId="86f45389-4ad9-4ce5-aa22-b4e8edefafef" providerId="ADAL" clId="{BF97026B-F088-444A-89FB-4AB1CE25C7E5}" dt="2021-09-03T09:30:09.042" v="6760" actId="164"/>
          <ac:picMkLst>
            <pc:docMk/>
            <pc:sldMk cId="3213435743" sldId="461"/>
            <ac:picMk id="15" creationId="{4DC5CAB7-4A58-4023-9B1E-AAFD4A99E7AE}"/>
          </ac:picMkLst>
        </pc:picChg>
        <pc:picChg chg="add del mod">
          <ac:chgData name="Andreas Weiss" userId="86f45389-4ad9-4ce5-aa22-b4e8edefafef" providerId="ADAL" clId="{BF97026B-F088-444A-89FB-4AB1CE25C7E5}" dt="2021-09-03T08:51:09.238" v="6419" actId="21"/>
          <ac:picMkLst>
            <pc:docMk/>
            <pc:sldMk cId="3213435743" sldId="461"/>
            <ac:picMk id="17" creationId="{7984B514-E311-4D04-8C34-51A8A769DB3E}"/>
          </ac:picMkLst>
        </pc:picChg>
        <pc:picChg chg="add mod">
          <ac:chgData name="Andreas Weiss" userId="86f45389-4ad9-4ce5-aa22-b4e8edefafef" providerId="ADAL" clId="{BF97026B-F088-444A-89FB-4AB1CE25C7E5}" dt="2021-09-03T09:30:09.042" v="6760" actId="164"/>
          <ac:picMkLst>
            <pc:docMk/>
            <pc:sldMk cId="3213435743" sldId="461"/>
            <ac:picMk id="19" creationId="{A9485E90-07AB-4FC7-903D-A8BD5280328D}"/>
          </ac:picMkLst>
        </pc:picChg>
        <pc:picChg chg="add mod">
          <ac:chgData name="Andreas Weiss" userId="86f45389-4ad9-4ce5-aa22-b4e8edefafef" providerId="ADAL" clId="{BF97026B-F088-444A-89FB-4AB1CE25C7E5}" dt="2021-09-03T09:30:09.042" v="6760" actId="164"/>
          <ac:picMkLst>
            <pc:docMk/>
            <pc:sldMk cId="3213435743" sldId="461"/>
            <ac:picMk id="21" creationId="{4564A08E-952C-48A3-82B6-5868E1D2126D}"/>
          </ac:picMkLst>
        </pc:picChg>
        <pc:picChg chg="add del mod">
          <ac:chgData name="Andreas Weiss" userId="86f45389-4ad9-4ce5-aa22-b4e8edefafef" providerId="ADAL" clId="{BF97026B-F088-444A-89FB-4AB1CE25C7E5}" dt="2021-09-03T08:57:10.260" v="6442" actId="21"/>
          <ac:picMkLst>
            <pc:docMk/>
            <pc:sldMk cId="3213435743" sldId="461"/>
            <ac:picMk id="22" creationId="{46C6206C-A766-4877-825E-C206C6BAB346}"/>
          </ac:picMkLst>
        </pc:picChg>
        <pc:picChg chg="add del mod">
          <ac:chgData name="Andreas Weiss" userId="86f45389-4ad9-4ce5-aa22-b4e8edefafef" providerId="ADAL" clId="{BF97026B-F088-444A-89FB-4AB1CE25C7E5}" dt="2021-09-03T08:57:10.260" v="6442" actId="21"/>
          <ac:picMkLst>
            <pc:docMk/>
            <pc:sldMk cId="3213435743" sldId="461"/>
            <ac:picMk id="23" creationId="{F2546438-264A-4E75-843B-D86B632B0496}"/>
          </ac:picMkLst>
        </pc:picChg>
        <pc:picChg chg="add del mod">
          <ac:chgData name="Andreas Weiss" userId="86f45389-4ad9-4ce5-aa22-b4e8edefafef" providerId="ADAL" clId="{BF97026B-F088-444A-89FB-4AB1CE25C7E5}" dt="2021-09-03T08:57:10.260" v="6442" actId="21"/>
          <ac:picMkLst>
            <pc:docMk/>
            <pc:sldMk cId="3213435743" sldId="461"/>
            <ac:picMk id="24" creationId="{626ECAF3-8AD0-4A7D-8027-ECC14E824D0B}"/>
          </ac:picMkLst>
        </pc:picChg>
        <pc:picChg chg="add del mod">
          <ac:chgData name="Andreas Weiss" userId="86f45389-4ad9-4ce5-aa22-b4e8edefafef" providerId="ADAL" clId="{BF97026B-F088-444A-89FB-4AB1CE25C7E5}" dt="2021-09-03T09:32:03.859" v="6773" actId="21"/>
          <ac:picMkLst>
            <pc:docMk/>
            <pc:sldMk cId="3213435743" sldId="461"/>
            <ac:picMk id="38" creationId="{D9B8D722-1F1B-4D0E-80A3-06C2CA5CFF83}"/>
          </ac:picMkLst>
        </pc:picChg>
        <pc:picChg chg="add del mod">
          <ac:chgData name="Andreas Weiss" userId="86f45389-4ad9-4ce5-aa22-b4e8edefafef" providerId="ADAL" clId="{BF97026B-F088-444A-89FB-4AB1CE25C7E5}" dt="2021-09-03T09:32:22.987" v="6778" actId="21"/>
          <ac:picMkLst>
            <pc:docMk/>
            <pc:sldMk cId="3213435743" sldId="461"/>
            <ac:picMk id="39" creationId="{6BE1A7E5-CB25-4451-B953-6D7747F04091}"/>
          </ac:picMkLst>
        </pc:picChg>
        <pc:picChg chg="add del mod">
          <ac:chgData name="Andreas Weiss" userId="86f45389-4ad9-4ce5-aa22-b4e8edefafef" providerId="ADAL" clId="{BF97026B-F088-444A-89FB-4AB1CE25C7E5}" dt="2021-09-03T09:32:43.356" v="6783" actId="21"/>
          <ac:picMkLst>
            <pc:docMk/>
            <pc:sldMk cId="3213435743" sldId="461"/>
            <ac:picMk id="40" creationId="{2DADF360-3686-41EF-854F-1D50D35299DA}"/>
          </ac:picMkLst>
        </pc:picChg>
      </pc:sldChg>
      <pc:sldChg chg="addSp delSp modSp mod delAnim modAnim">
        <pc:chgData name="Andreas Weiss" userId="86f45389-4ad9-4ce5-aa22-b4e8edefafef" providerId="ADAL" clId="{BF97026B-F088-444A-89FB-4AB1CE25C7E5}" dt="2021-09-06T08:30:36.307" v="7433"/>
        <pc:sldMkLst>
          <pc:docMk/>
          <pc:sldMk cId="277429062" sldId="462"/>
        </pc:sldMkLst>
        <pc:spChg chg="add del mod">
          <ac:chgData name="Andreas Weiss" userId="86f45389-4ad9-4ce5-aa22-b4e8edefafef" providerId="ADAL" clId="{BF97026B-F088-444A-89FB-4AB1CE25C7E5}" dt="2021-08-31T11:35:56.164" v="362" actId="478"/>
          <ac:spMkLst>
            <pc:docMk/>
            <pc:sldMk cId="277429062" sldId="462"/>
            <ac:spMk id="3" creationId="{DDAECD88-CC83-4513-AEB6-6D97BD9AC148}"/>
          </ac:spMkLst>
        </pc:spChg>
        <pc:spChg chg="mod">
          <ac:chgData name="Andreas Weiss" userId="86f45389-4ad9-4ce5-aa22-b4e8edefafef" providerId="ADAL" clId="{BF97026B-F088-444A-89FB-4AB1CE25C7E5}" dt="2021-08-31T12:51:15.866" v="1135" actId="20577"/>
          <ac:spMkLst>
            <pc:docMk/>
            <pc:sldMk cId="277429062" sldId="462"/>
            <ac:spMk id="5" creationId="{00000000-0000-0000-0000-000000000000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6" creationId="{00000000-0000-0000-0000-000000000000}"/>
          </ac:spMkLst>
        </pc:spChg>
        <pc:spChg chg="del">
          <ac:chgData name="Andreas Weiss" userId="86f45389-4ad9-4ce5-aa22-b4e8edefafef" providerId="ADAL" clId="{BF97026B-F088-444A-89FB-4AB1CE25C7E5}" dt="2021-08-31T11:18:46.505" v="0" actId="478"/>
          <ac:spMkLst>
            <pc:docMk/>
            <pc:sldMk cId="277429062" sldId="462"/>
            <ac:spMk id="7" creationId="{00000000-0000-0000-0000-000000000000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9" creationId="{0B7600C6-EA3E-437C-9A9A-0AB775DEB5BB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0" creationId="{3CAC8577-3906-4C87-BA44-F7BB30434E93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1" creationId="{D11B3DE9-D2A8-48D7-8D9C-CD9493A08829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3" creationId="{5AEC3F2D-D6E3-4A2E-9A0A-2E8908B78F9E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4" creationId="{BE120397-12B9-4E7A-AB11-E7ADEFE5DB8D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5" creationId="{53029F40-3B82-4388-901E-3960A66ED54E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6" creationId="{787E17E0-600D-486B-8775-C3C2B6220AD4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7" creationId="{10EEAE79-E079-4803-B4A2-2C84FCF49A9A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8" creationId="{01CCBB4D-F61F-45B9-BFC1-1548C40A2E35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9" creationId="{22F9EC31-4E1D-43A1-965E-7596C86D4537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0" creationId="{83ED3EDE-3C98-439F-BF19-61F7D755129F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6" creationId="{9D1F44C6-877C-4AD0-8B3E-C6A39667AC56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7" creationId="{4545F4E2-A03A-4D2E-AA51-62E1F8EC22E9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8" creationId="{66FB09DC-A5E1-46BC-8C17-E22A9116FB80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9" creationId="{AFC7D3C2-D86C-4F12-9229-FF83777EA926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0" creationId="{C86591B8-A758-4908-A4FE-A9CE199ADB29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1" creationId="{84DA621D-C5C6-483C-953E-EAFA839C14B8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2" creationId="{766CC8B8-52D7-46ED-B99C-C88600292E7D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3" creationId="{8A409DD9-A4ED-42C7-A58D-BB6CFF488829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4" creationId="{F1BDDBF0-22D8-4D83-9777-92ABE5445BFF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6" creationId="{B9614C69-C9C8-4F58-9EF4-F9E3E4E64E37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7" creationId="{CD61E102-DEAA-480C-8BA4-5E9018B3AB46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8" creationId="{D1DDA59D-9D44-462E-9BAB-E213E53948FD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9" creationId="{F2625DF9-C058-453B-A066-3369B87E92C6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40" creationId="{4F7A0DDC-4C7E-4B6A-A441-46DFC8A83A7A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41" creationId="{1CE1D9CF-D043-42A8-8E9F-EAD7989D8979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42" creationId="{2765C77E-27E5-4060-9B97-917AA8817FBA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43" creationId="{611C3764-E697-45A4-AA8A-15F74F7252B4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44" creationId="{9764667A-8DBE-4475-8DC3-52EE3115EA63}"/>
          </ac:spMkLst>
        </pc:spChg>
        <pc:spChg chg="add mod topLvl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45" creationId="{DB3343AE-8D92-4EB8-843B-C43F9630D86C}"/>
          </ac:spMkLst>
        </pc:spChg>
        <pc:spChg chg="add del mod">
          <ac:chgData name="Andreas Weiss" userId="86f45389-4ad9-4ce5-aa22-b4e8edefafef" providerId="ADAL" clId="{BF97026B-F088-444A-89FB-4AB1CE25C7E5}" dt="2021-08-31T11:35:56.164" v="362" actId="478"/>
          <ac:spMkLst>
            <pc:docMk/>
            <pc:sldMk cId="277429062" sldId="462"/>
            <ac:spMk id="46" creationId="{11A56E9D-DE41-417C-BC7C-393127C991D4}"/>
          </ac:spMkLst>
        </pc:spChg>
        <pc:spChg chg="add del mod">
          <ac:chgData name="Andreas Weiss" userId="86f45389-4ad9-4ce5-aa22-b4e8edefafef" providerId="ADAL" clId="{BF97026B-F088-444A-89FB-4AB1CE25C7E5}" dt="2021-08-31T11:27:53.845" v="85" actId="21"/>
          <ac:spMkLst>
            <pc:docMk/>
            <pc:sldMk cId="277429062" sldId="462"/>
            <ac:spMk id="47" creationId="{4BED7134-1246-490A-8359-B3FAC46A4F3E}"/>
          </ac:spMkLst>
        </pc:spChg>
        <pc:spChg chg="add del mod">
          <ac:chgData name="Andreas Weiss" userId="86f45389-4ad9-4ce5-aa22-b4e8edefafef" providerId="ADAL" clId="{BF97026B-F088-444A-89FB-4AB1CE25C7E5}" dt="2021-08-31T11:29:17.224" v="87" actId="478"/>
          <ac:spMkLst>
            <pc:docMk/>
            <pc:sldMk cId="277429062" sldId="462"/>
            <ac:spMk id="48" creationId="{40CD7F70-2407-44CA-A459-4E1941FD3134}"/>
          </ac:spMkLst>
        </pc:spChg>
        <pc:spChg chg="add del mod">
          <ac:chgData name="Andreas Weiss" userId="86f45389-4ad9-4ce5-aa22-b4e8edefafef" providerId="ADAL" clId="{BF97026B-F088-444A-89FB-4AB1CE25C7E5}" dt="2021-08-31T11:29:17.224" v="87" actId="478"/>
          <ac:spMkLst>
            <pc:docMk/>
            <pc:sldMk cId="277429062" sldId="462"/>
            <ac:spMk id="49" creationId="{BC3EA4A1-AE89-406C-A9E7-5D4F9D46ECE1}"/>
          </ac:spMkLst>
        </pc:spChg>
        <pc:spChg chg="mod">
          <ac:chgData name="Andreas Weiss" userId="86f45389-4ad9-4ce5-aa22-b4e8edefafef" providerId="ADAL" clId="{BF97026B-F088-444A-89FB-4AB1CE25C7E5}" dt="2021-08-31T11:23:01.990" v="38" actId="1076"/>
          <ac:spMkLst>
            <pc:docMk/>
            <pc:sldMk cId="277429062" sldId="462"/>
            <ac:spMk id="67" creationId="{41B42591-7B31-4AC8-8D3F-A774116F242C}"/>
          </ac:spMkLst>
        </pc:spChg>
        <pc:spChg chg="mod">
          <ac:chgData name="Andreas Weiss" userId="86f45389-4ad9-4ce5-aa22-b4e8edefafef" providerId="ADAL" clId="{BF97026B-F088-444A-89FB-4AB1CE25C7E5}" dt="2021-08-31T11:23:01.990" v="38" actId="1076"/>
          <ac:spMkLst>
            <pc:docMk/>
            <pc:sldMk cId="277429062" sldId="462"/>
            <ac:spMk id="68" creationId="{59AFA99C-BFF2-49D5-91CB-4370A91912EC}"/>
          </ac:spMkLst>
        </pc:spChg>
        <pc:spChg chg="mod">
          <ac:chgData name="Andreas Weiss" userId="86f45389-4ad9-4ce5-aa22-b4e8edefafef" providerId="ADAL" clId="{BF97026B-F088-444A-89FB-4AB1CE25C7E5}" dt="2021-08-31T11:23:01.990" v="38" actId="1076"/>
          <ac:spMkLst>
            <pc:docMk/>
            <pc:sldMk cId="277429062" sldId="462"/>
            <ac:spMk id="69" creationId="{747368AA-48AC-4941-84DC-531AC246556A}"/>
          </ac:spMkLst>
        </pc:spChg>
        <pc:spChg chg="mod">
          <ac:chgData name="Andreas Weiss" userId="86f45389-4ad9-4ce5-aa22-b4e8edefafef" providerId="ADAL" clId="{BF97026B-F088-444A-89FB-4AB1CE25C7E5}" dt="2021-08-31T11:23:01.990" v="38" actId="1076"/>
          <ac:spMkLst>
            <pc:docMk/>
            <pc:sldMk cId="277429062" sldId="462"/>
            <ac:spMk id="70" creationId="{032FFFF3-07FA-4733-9730-78477499752C}"/>
          </ac:spMkLst>
        </pc:spChg>
        <pc:spChg chg="mod">
          <ac:chgData name="Andreas Weiss" userId="86f45389-4ad9-4ce5-aa22-b4e8edefafef" providerId="ADAL" clId="{BF97026B-F088-444A-89FB-4AB1CE25C7E5}" dt="2021-08-31T11:23:01.990" v="38" actId="1076"/>
          <ac:spMkLst>
            <pc:docMk/>
            <pc:sldMk cId="277429062" sldId="462"/>
            <ac:spMk id="71" creationId="{3515CD46-C06E-48D4-BE91-E4A27A6B0119}"/>
          </ac:spMkLst>
        </pc:spChg>
        <pc:spChg chg="mod">
          <ac:chgData name="Andreas Weiss" userId="86f45389-4ad9-4ce5-aa22-b4e8edefafef" providerId="ADAL" clId="{BF97026B-F088-444A-89FB-4AB1CE25C7E5}" dt="2021-08-31T11:23:01.990" v="38" actId="1076"/>
          <ac:spMkLst>
            <pc:docMk/>
            <pc:sldMk cId="277429062" sldId="462"/>
            <ac:spMk id="72" creationId="{D67FA347-1AB0-47DB-B5CC-D76072840CC7}"/>
          </ac:spMkLst>
        </pc:spChg>
        <pc:spChg chg="mod">
          <ac:chgData name="Andreas Weiss" userId="86f45389-4ad9-4ce5-aa22-b4e8edefafef" providerId="ADAL" clId="{BF97026B-F088-444A-89FB-4AB1CE25C7E5}" dt="2021-08-31T11:23:01.990" v="38" actId="1076"/>
          <ac:spMkLst>
            <pc:docMk/>
            <pc:sldMk cId="277429062" sldId="462"/>
            <ac:spMk id="73" creationId="{7371B562-6C1C-4877-9E5F-DBC19A177BF6}"/>
          </ac:spMkLst>
        </pc:spChg>
        <pc:spChg chg="mod">
          <ac:chgData name="Andreas Weiss" userId="86f45389-4ad9-4ce5-aa22-b4e8edefafef" providerId="ADAL" clId="{BF97026B-F088-444A-89FB-4AB1CE25C7E5}" dt="2021-08-31T11:23:01.990" v="38" actId="1076"/>
          <ac:spMkLst>
            <pc:docMk/>
            <pc:sldMk cId="277429062" sldId="462"/>
            <ac:spMk id="120" creationId="{C3FDDCF6-5729-4F08-A80F-6458FAF3342F}"/>
          </ac:spMkLst>
        </pc:spChg>
        <pc:spChg chg="mod">
          <ac:chgData name="Andreas Weiss" userId="86f45389-4ad9-4ce5-aa22-b4e8edefafef" providerId="ADAL" clId="{BF97026B-F088-444A-89FB-4AB1CE25C7E5}" dt="2021-08-31T11:23:01.990" v="38" actId="1076"/>
          <ac:spMkLst>
            <pc:docMk/>
            <pc:sldMk cId="277429062" sldId="462"/>
            <ac:spMk id="121" creationId="{D173AA81-AB62-41EE-87F4-939350CEB68B}"/>
          </ac:spMkLst>
        </pc:spChg>
        <pc:spChg chg="del mod">
          <ac:chgData name="Andreas Weiss" userId="86f45389-4ad9-4ce5-aa22-b4e8edefafef" providerId="ADAL" clId="{BF97026B-F088-444A-89FB-4AB1CE25C7E5}" dt="2021-08-31T11:23:18.222" v="41" actId="478"/>
          <ac:spMkLst>
            <pc:docMk/>
            <pc:sldMk cId="277429062" sldId="462"/>
            <ac:spMk id="123" creationId="{206D4283-98F1-4382-8945-871BF6646DEC}"/>
          </ac:spMkLst>
        </pc:spChg>
        <pc:spChg chg="mod">
          <ac:chgData name="Andreas Weiss" userId="86f45389-4ad9-4ce5-aa22-b4e8edefafef" providerId="ADAL" clId="{BF97026B-F088-444A-89FB-4AB1CE25C7E5}" dt="2021-08-31T11:23:01.990" v="38" actId="1076"/>
          <ac:spMkLst>
            <pc:docMk/>
            <pc:sldMk cId="277429062" sldId="462"/>
            <ac:spMk id="124" creationId="{F8DAF7F8-73DB-4EA1-AE6B-F6774125B529}"/>
          </ac:spMkLst>
        </pc:spChg>
        <pc:spChg chg="add del mod">
          <ac:chgData name="Andreas Weiss" userId="86f45389-4ad9-4ce5-aa22-b4e8edefafef" providerId="ADAL" clId="{BF97026B-F088-444A-89FB-4AB1CE25C7E5}" dt="2021-08-31T11:29:17.224" v="87" actId="478"/>
          <ac:spMkLst>
            <pc:docMk/>
            <pc:sldMk cId="277429062" sldId="462"/>
            <ac:spMk id="125" creationId="{CE186306-7504-43E3-9DFE-04989F9893D9}"/>
          </ac:spMkLst>
        </pc:spChg>
        <pc:spChg chg="add del mod">
          <ac:chgData name="Andreas Weiss" userId="86f45389-4ad9-4ce5-aa22-b4e8edefafef" providerId="ADAL" clId="{BF97026B-F088-444A-89FB-4AB1CE25C7E5}" dt="2021-08-31T11:29:17.224" v="87" actId="478"/>
          <ac:spMkLst>
            <pc:docMk/>
            <pc:sldMk cId="277429062" sldId="462"/>
            <ac:spMk id="126" creationId="{24A0F4EC-2F40-47AE-A415-78822BCCA6AD}"/>
          </ac:spMkLst>
        </pc:spChg>
        <pc:spChg chg="add del mod">
          <ac:chgData name="Andreas Weiss" userId="86f45389-4ad9-4ce5-aa22-b4e8edefafef" providerId="ADAL" clId="{BF97026B-F088-444A-89FB-4AB1CE25C7E5}" dt="2021-08-31T11:29:17.224" v="87" actId="478"/>
          <ac:spMkLst>
            <pc:docMk/>
            <pc:sldMk cId="277429062" sldId="462"/>
            <ac:spMk id="127" creationId="{11015CAC-2A8F-46E4-B75C-B3E9D86B59A3}"/>
          </ac:spMkLst>
        </pc:spChg>
        <pc:spChg chg="add del mod">
          <ac:chgData name="Andreas Weiss" userId="86f45389-4ad9-4ce5-aa22-b4e8edefafef" providerId="ADAL" clId="{BF97026B-F088-444A-89FB-4AB1CE25C7E5}" dt="2021-08-31T11:29:17.224" v="87" actId="478"/>
          <ac:spMkLst>
            <pc:docMk/>
            <pc:sldMk cId="277429062" sldId="462"/>
            <ac:spMk id="129" creationId="{AAFD8DD7-18B6-4F1B-8C73-006B71732A1D}"/>
          </ac:spMkLst>
        </pc:spChg>
        <pc:spChg chg="add del mod">
          <ac:chgData name="Andreas Weiss" userId="86f45389-4ad9-4ce5-aa22-b4e8edefafef" providerId="ADAL" clId="{BF97026B-F088-444A-89FB-4AB1CE25C7E5}" dt="2021-08-31T11:29:17.224" v="87" actId="478"/>
          <ac:spMkLst>
            <pc:docMk/>
            <pc:sldMk cId="277429062" sldId="462"/>
            <ac:spMk id="130" creationId="{5404D98D-A6F9-4A44-A410-AF81A13636E3}"/>
          </ac:spMkLst>
        </pc:spChg>
        <pc:spChg chg="add del mod">
          <ac:chgData name="Andreas Weiss" userId="86f45389-4ad9-4ce5-aa22-b4e8edefafef" providerId="ADAL" clId="{BF97026B-F088-444A-89FB-4AB1CE25C7E5}" dt="2021-08-31T11:35:56.164" v="362" actId="478"/>
          <ac:spMkLst>
            <pc:docMk/>
            <pc:sldMk cId="277429062" sldId="462"/>
            <ac:spMk id="145" creationId="{76A33E35-63DF-4574-9790-29FF9732501E}"/>
          </ac:spMkLst>
        </pc:spChg>
        <pc:spChg chg="add mod or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46" creationId="{A2E6C448-9376-4CBA-9B7C-5B43AEA86F67}"/>
          </ac:spMkLst>
        </pc:spChg>
        <pc:spChg chg="add del mod">
          <ac:chgData name="Andreas Weiss" userId="86f45389-4ad9-4ce5-aa22-b4e8edefafef" providerId="ADAL" clId="{BF97026B-F088-444A-89FB-4AB1CE25C7E5}" dt="2021-08-31T11:29:38.495" v="93" actId="478"/>
          <ac:spMkLst>
            <pc:docMk/>
            <pc:sldMk cId="277429062" sldId="462"/>
            <ac:spMk id="147" creationId="{BD93CB8C-9953-46E7-9369-589973053DF0}"/>
          </ac:spMkLst>
        </pc:spChg>
        <pc:spChg chg="add mod or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48" creationId="{6BCE3C67-1E3C-43DD-B6FC-D9AD15963243}"/>
          </ac:spMkLst>
        </pc:spChg>
        <pc:spChg chg="add mod or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49" creationId="{ADE6681D-0A1B-4DC6-8605-9A038EB023D5}"/>
          </ac:spMkLst>
        </pc:spChg>
        <pc:spChg chg="add mod or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50" creationId="{E5847575-BF6D-4160-8551-B6E8B61DFDB4}"/>
          </ac:spMkLst>
        </pc:spChg>
        <pc:spChg chg="add mod or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51" creationId="{A41B434A-7215-4C7E-9D7C-3F307BBFDB11}"/>
          </ac:spMkLst>
        </pc:spChg>
        <pc:spChg chg="add mod or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52" creationId="{566F8A3A-C182-4262-8ED9-8012733FA457}"/>
          </ac:spMkLst>
        </pc:spChg>
        <pc:spChg chg="mod">
          <ac:chgData name="Andreas Weiss" userId="86f45389-4ad9-4ce5-aa22-b4e8edefafef" providerId="ADAL" clId="{BF97026B-F088-444A-89FB-4AB1CE25C7E5}" dt="2021-08-31T11:37:10.076" v="363"/>
          <ac:spMkLst>
            <pc:docMk/>
            <pc:sldMk cId="277429062" sldId="462"/>
            <ac:spMk id="154" creationId="{BF7639BE-B8F1-440F-97F6-0BB0B88B2CE8}"/>
          </ac:spMkLst>
        </pc:spChg>
        <pc:spChg chg="mod">
          <ac:chgData name="Andreas Weiss" userId="86f45389-4ad9-4ce5-aa22-b4e8edefafef" providerId="ADAL" clId="{BF97026B-F088-444A-89FB-4AB1CE25C7E5}" dt="2021-08-31T11:37:10.076" v="363"/>
          <ac:spMkLst>
            <pc:docMk/>
            <pc:sldMk cId="277429062" sldId="462"/>
            <ac:spMk id="155" creationId="{1E6EB5EF-134F-4089-B021-49F10E03E6D8}"/>
          </ac:spMkLst>
        </pc:spChg>
        <pc:spChg chg="add mod">
          <ac:chgData name="Andreas Weiss" userId="86f45389-4ad9-4ce5-aa22-b4e8edefafef" providerId="ADAL" clId="{BF97026B-F088-444A-89FB-4AB1CE25C7E5}" dt="2021-09-06T08:30:27.876" v="7432" actId="1076"/>
          <ac:spMkLst>
            <pc:docMk/>
            <pc:sldMk cId="277429062" sldId="462"/>
            <ac:spMk id="163" creationId="{6C427A38-F010-450D-98C3-E80CB15DDD85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71" creationId="{7678355B-17A5-431B-B746-36DABA7271E4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72" creationId="{882AE920-600B-4E87-8EE1-B0B1F461C839}"/>
          </ac:spMkLst>
        </pc:spChg>
        <pc:spChg chg="mod">
          <ac:chgData name="Andreas Weiss" userId="86f45389-4ad9-4ce5-aa22-b4e8edefafef" providerId="ADAL" clId="{BF97026B-F088-444A-89FB-4AB1CE25C7E5}" dt="2021-08-31T11:38:19.441" v="375"/>
          <ac:spMkLst>
            <pc:docMk/>
            <pc:sldMk cId="277429062" sldId="462"/>
            <ac:spMk id="182" creationId="{525C03C7-47B6-45B7-94EE-BD6F8F3313AE}"/>
          </ac:spMkLst>
        </pc:spChg>
        <pc:spChg chg="mod">
          <ac:chgData name="Andreas Weiss" userId="86f45389-4ad9-4ce5-aa22-b4e8edefafef" providerId="ADAL" clId="{BF97026B-F088-444A-89FB-4AB1CE25C7E5}" dt="2021-08-31T11:38:19.441" v="375"/>
          <ac:spMkLst>
            <pc:docMk/>
            <pc:sldMk cId="277429062" sldId="462"/>
            <ac:spMk id="183" creationId="{CDFC80D8-11A6-46B8-A936-96C403F0E41E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95" creationId="{E104A060-68C8-4579-9822-6F861843434D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196" creationId="{D91484BA-5990-47CC-A933-B4E438BC2D52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03" creationId="{66BB5B90-EE29-4ED3-9ABD-141B84203D06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04" creationId="{134AD9A9-1E73-464A-8E46-08416D427745}"/>
          </ac:spMkLst>
        </pc:spChg>
        <pc:spChg chg="add del mod">
          <ac:chgData name="Andreas Weiss" userId="86f45389-4ad9-4ce5-aa22-b4e8edefafef" providerId="ADAL" clId="{BF97026B-F088-444A-89FB-4AB1CE25C7E5}" dt="2021-08-31T12:14:34.008" v="888" actId="478"/>
          <ac:spMkLst>
            <pc:docMk/>
            <pc:sldMk cId="277429062" sldId="462"/>
            <ac:spMk id="219" creationId="{C9B1313C-A8D2-4648-806E-D11D9601925B}"/>
          </ac:spMkLst>
        </pc:spChg>
        <pc:spChg chg="add mod">
          <ac:chgData name="Andreas Weiss" userId="86f45389-4ad9-4ce5-aa22-b4e8edefafef" providerId="ADAL" clId="{BF97026B-F088-444A-89FB-4AB1CE25C7E5}" dt="2021-08-31T12:07:59.740" v="700" actId="1076"/>
          <ac:spMkLst>
            <pc:docMk/>
            <pc:sldMk cId="277429062" sldId="462"/>
            <ac:spMk id="222" creationId="{58050873-3E52-4E98-A17A-738390F3D1FA}"/>
          </ac:spMkLst>
        </pc:spChg>
        <pc:spChg chg="mod">
          <ac:chgData name="Andreas Weiss" userId="86f45389-4ad9-4ce5-aa22-b4e8edefafef" providerId="ADAL" clId="{BF97026B-F088-444A-89FB-4AB1CE25C7E5}" dt="2021-08-31T11:46:52.495" v="510" actId="1076"/>
          <ac:spMkLst>
            <pc:docMk/>
            <pc:sldMk cId="277429062" sldId="462"/>
            <ac:spMk id="229" creationId="{21EABEA4-8A94-4FF1-B6E8-5E650247B347}"/>
          </ac:spMkLst>
        </pc:spChg>
        <pc:spChg chg="mod">
          <ac:chgData name="Andreas Weiss" userId="86f45389-4ad9-4ce5-aa22-b4e8edefafef" providerId="ADAL" clId="{BF97026B-F088-444A-89FB-4AB1CE25C7E5}" dt="2021-08-31T11:46:59.005" v="511"/>
          <ac:spMkLst>
            <pc:docMk/>
            <pc:sldMk cId="277429062" sldId="462"/>
            <ac:spMk id="235" creationId="{665101D4-1131-4D38-9ADB-9CFF23C9F6BA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59" creationId="{9B2959C5-33FF-4A56-8EA4-938F22B743DD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60" creationId="{1BB8FDCB-E806-4AF7-BAEF-7762854BC591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61" creationId="{77E18195-E00E-49E0-A87D-747A56A7A888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62" creationId="{D2130555-A146-4042-822A-B1F07C098777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63" creationId="{DA7DC650-10FE-4C19-9754-E1C79E89B9D4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64" creationId="{EDA257DE-214B-4651-B1C7-6F3996573E09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65" creationId="{4CBF2FDD-42AD-4F17-AD86-C5A5FE764236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66" creationId="{22F2F9F3-DB4F-4F38-9A56-8D95F5712CC5}"/>
          </ac:spMkLst>
        </pc:spChg>
        <pc:spChg chg="add del mod">
          <ac:chgData name="Andreas Weiss" userId="86f45389-4ad9-4ce5-aa22-b4e8edefafef" providerId="ADAL" clId="{BF97026B-F088-444A-89FB-4AB1CE25C7E5}" dt="2021-08-31T12:19:18.222" v="962" actId="478"/>
          <ac:spMkLst>
            <pc:docMk/>
            <pc:sldMk cId="277429062" sldId="462"/>
            <ac:spMk id="267" creationId="{8C46633C-ED5B-480F-BDC0-3855871F152C}"/>
          </ac:spMkLst>
        </pc:spChg>
        <pc:spChg chg="del mod topLvl">
          <ac:chgData name="Andreas Weiss" userId="86f45389-4ad9-4ce5-aa22-b4e8edefafef" providerId="ADAL" clId="{BF97026B-F088-444A-89FB-4AB1CE25C7E5}" dt="2021-08-31T12:19:32.657" v="965" actId="478"/>
          <ac:spMkLst>
            <pc:docMk/>
            <pc:sldMk cId="277429062" sldId="462"/>
            <ac:spMk id="270" creationId="{DE43677E-B687-4B1D-BE82-B315B54C581A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77" creationId="{BF487624-9AE5-4155-B862-DB901941DDBE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278" creationId="{FA94B2F4-30E6-496A-B615-70A2A0D9489F}"/>
          </ac:spMkLst>
        </pc:spChg>
        <pc:spChg chg="mod">
          <ac:chgData name="Andreas Weiss" userId="86f45389-4ad9-4ce5-aa22-b4e8edefafef" providerId="ADAL" clId="{BF97026B-F088-444A-89FB-4AB1CE25C7E5}" dt="2021-08-31T12:21:56.481" v="988"/>
          <ac:spMkLst>
            <pc:docMk/>
            <pc:sldMk cId="277429062" sldId="462"/>
            <ac:spMk id="282" creationId="{0F3E0E32-C50E-4871-A852-66590DD630A4}"/>
          </ac:spMkLst>
        </pc:spChg>
        <pc:spChg chg="mod">
          <ac:chgData name="Andreas Weiss" userId="86f45389-4ad9-4ce5-aa22-b4e8edefafef" providerId="ADAL" clId="{BF97026B-F088-444A-89FB-4AB1CE25C7E5}" dt="2021-08-31T12:21:56.481" v="988"/>
          <ac:spMkLst>
            <pc:docMk/>
            <pc:sldMk cId="277429062" sldId="462"/>
            <ac:spMk id="283" creationId="{AF465E17-246B-4A76-A77E-777AB22F9C86}"/>
          </ac:spMkLst>
        </pc:spChg>
        <pc:spChg chg="mod">
          <ac:chgData name="Andreas Weiss" userId="86f45389-4ad9-4ce5-aa22-b4e8edefafef" providerId="ADAL" clId="{BF97026B-F088-444A-89FB-4AB1CE25C7E5}" dt="2021-08-31T12:21:56.481" v="988"/>
          <ac:spMkLst>
            <pc:docMk/>
            <pc:sldMk cId="277429062" sldId="462"/>
            <ac:spMk id="284" creationId="{8522B69D-B236-48F2-B25B-00360D572516}"/>
          </ac:spMkLst>
        </pc:spChg>
        <pc:spChg chg="mod">
          <ac:chgData name="Andreas Weiss" userId="86f45389-4ad9-4ce5-aa22-b4e8edefafef" providerId="ADAL" clId="{BF97026B-F088-444A-89FB-4AB1CE25C7E5}" dt="2021-08-31T12:21:56.481" v="988"/>
          <ac:spMkLst>
            <pc:docMk/>
            <pc:sldMk cId="277429062" sldId="462"/>
            <ac:spMk id="285" creationId="{A93A8582-6204-45F1-970A-AB61BC0B6F3B}"/>
          </ac:spMkLst>
        </pc:spChg>
        <pc:spChg chg="mod">
          <ac:chgData name="Andreas Weiss" userId="86f45389-4ad9-4ce5-aa22-b4e8edefafef" providerId="ADAL" clId="{BF97026B-F088-444A-89FB-4AB1CE25C7E5}" dt="2021-08-31T12:21:56.481" v="988"/>
          <ac:spMkLst>
            <pc:docMk/>
            <pc:sldMk cId="277429062" sldId="462"/>
            <ac:spMk id="286" creationId="{2DA93924-9019-478A-92F0-6EF482E8627D}"/>
          </ac:spMkLst>
        </pc:spChg>
        <pc:spChg chg="mod">
          <ac:chgData name="Andreas Weiss" userId="86f45389-4ad9-4ce5-aa22-b4e8edefafef" providerId="ADAL" clId="{BF97026B-F088-444A-89FB-4AB1CE25C7E5}" dt="2021-08-31T12:21:56.481" v="988"/>
          <ac:spMkLst>
            <pc:docMk/>
            <pc:sldMk cId="277429062" sldId="462"/>
            <ac:spMk id="287" creationId="{A03B51E3-158F-4C6F-9695-5F5B504B99EF}"/>
          </ac:spMkLst>
        </pc:spChg>
        <pc:spChg chg="mod">
          <ac:chgData name="Andreas Weiss" userId="86f45389-4ad9-4ce5-aa22-b4e8edefafef" providerId="ADAL" clId="{BF97026B-F088-444A-89FB-4AB1CE25C7E5}" dt="2021-08-31T12:21:56.481" v="988"/>
          <ac:spMkLst>
            <pc:docMk/>
            <pc:sldMk cId="277429062" sldId="462"/>
            <ac:spMk id="288" creationId="{82F4C15D-AD72-4159-893A-821F221DADAF}"/>
          </ac:spMkLst>
        </pc:spChg>
        <pc:spChg chg="mod">
          <ac:chgData name="Andreas Weiss" userId="86f45389-4ad9-4ce5-aa22-b4e8edefafef" providerId="ADAL" clId="{BF97026B-F088-444A-89FB-4AB1CE25C7E5}" dt="2021-08-31T12:21:56.481" v="988"/>
          <ac:spMkLst>
            <pc:docMk/>
            <pc:sldMk cId="277429062" sldId="462"/>
            <ac:spMk id="289" creationId="{49F8CA3A-26DC-4E43-8F55-A592047F5455}"/>
          </ac:spMkLst>
        </pc:spChg>
        <pc:spChg chg="mod">
          <ac:chgData name="Andreas Weiss" userId="86f45389-4ad9-4ce5-aa22-b4e8edefafef" providerId="ADAL" clId="{BF97026B-F088-444A-89FB-4AB1CE25C7E5}" dt="2021-08-31T12:21:56.481" v="988"/>
          <ac:spMkLst>
            <pc:docMk/>
            <pc:sldMk cId="277429062" sldId="462"/>
            <ac:spMk id="297" creationId="{5287A84A-3F8B-4C4E-AEE6-1FD2BF7C3CE0}"/>
          </ac:spMkLst>
        </pc:spChg>
        <pc:spChg chg="mod">
          <ac:chgData name="Andreas Weiss" userId="86f45389-4ad9-4ce5-aa22-b4e8edefafef" providerId="ADAL" clId="{BF97026B-F088-444A-89FB-4AB1CE25C7E5}" dt="2021-08-31T12:21:56.481" v="988"/>
          <ac:spMkLst>
            <pc:docMk/>
            <pc:sldMk cId="277429062" sldId="462"/>
            <ac:spMk id="298" creationId="{30F13AEA-3C77-4B65-BC4A-B8F731692C09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11" creationId="{56E6FC79-39CC-443D-9F68-B1355E5450D7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12" creationId="{A5CD4CA3-6117-42DE-BDA0-AAB5ADDA619D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15" creationId="{BB5164DA-BCF6-4394-A9A7-E391DB51FC02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16" creationId="{677C00D7-E9E7-4510-BA48-DE809F2ACC2B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17" creationId="{95E62024-7A5E-412B-B8B8-56985F28483C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18" creationId="{17C1E972-8215-4FCB-8EEB-CA38BA555D68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19" creationId="{7537E087-9296-43A5-A716-20DAA2EC7434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20" creationId="{7DC8B792-626F-4FAF-8F9D-99C19EBF3E36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21" creationId="{C3EBE36C-E4FB-43FC-91E9-2651267375B3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22" creationId="{37D6238E-959E-4967-B44A-C166285DE0FD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32" creationId="{C62DA81A-C4EA-4F63-9B59-C0B3D1C3C86E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33" creationId="{77530A5A-F33C-4B1D-BFF7-D2485FC10BEA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36" creationId="{039218CF-4A22-4945-AA6B-903DDB1001FF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37" creationId="{61D979E6-8559-4B01-BD23-92ED23250FD7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38" creationId="{FBB30809-2090-433F-927C-3DD03D6E89C2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39" creationId="{7401F511-1E21-4CCB-9C74-85EBF6EADA6A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40" creationId="{1019BA56-EE27-4594-BD77-CF12895EC2F7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41" creationId="{1E21B3EB-1599-4368-BBE5-72BCCC084A21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42" creationId="{2B3884C8-FBEA-459D-B751-7B0815517D2D}"/>
          </ac:spMkLst>
        </pc:spChg>
        <pc:spChg chg="mod">
          <ac:chgData name="Andreas Weiss" userId="86f45389-4ad9-4ce5-aa22-b4e8edefafef" providerId="ADAL" clId="{BF97026B-F088-444A-89FB-4AB1CE25C7E5}" dt="2021-08-31T12:50:27.794" v="1132" actId="2711"/>
          <ac:spMkLst>
            <pc:docMk/>
            <pc:sldMk cId="277429062" sldId="462"/>
            <ac:spMk id="343" creationId="{FCC7E87F-C3F9-4AB7-9E38-EEB984C01ED9}"/>
          </ac:spMkLst>
        </pc:spChg>
        <pc:spChg chg="add del mod">
          <ac:chgData name="Andreas Weiss" userId="86f45389-4ad9-4ce5-aa22-b4e8edefafef" providerId="ADAL" clId="{BF97026B-F088-444A-89FB-4AB1CE25C7E5}" dt="2021-08-31T12:50:22.929" v="1131" actId="21"/>
          <ac:spMkLst>
            <pc:docMk/>
            <pc:sldMk cId="277429062" sldId="462"/>
            <ac:spMk id="344" creationId="{60B0E2BA-1E8A-4BD2-BCCB-AF0A336869B6}"/>
          </ac:spMkLst>
        </pc:spChg>
        <pc:spChg chg="add del mod">
          <ac:chgData name="Andreas Weiss" userId="86f45389-4ad9-4ce5-aa22-b4e8edefafef" providerId="ADAL" clId="{BF97026B-F088-444A-89FB-4AB1CE25C7E5}" dt="2021-08-31T12:24:24.551" v="1022" actId="21"/>
          <ac:spMkLst>
            <pc:docMk/>
            <pc:sldMk cId="277429062" sldId="462"/>
            <ac:spMk id="345" creationId="{915D75C5-0BCC-43EE-926E-281D5718F937}"/>
          </ac:spMkLst>
        </pc:spChg>
        <pc:spChg chg="add del mod">
          <ac:chgData name="Andreas Weiss" userId="86f45389-4ad9-4ce5-aa22-b4e8edefafef" providerId="ADAL" clId="{BF97026B-F088-444A-89FB-4AB1CE25C7E5}" dt="2021-08-31T12:50:22.929" v="1131" actId="21"/>
          <ac:spMkLst>
            <pc:docMk/>
            <pc:sldMk cId="277429062" sldId="462"/>
            <ac:spMk id="346" creationId="{D5F672AA-473B-4470-9F93-D87C0814B797}"/>
          </ac:spMkLst>
        </pc:spChg>
        <pc:spChg chg="add del mod">
          <ac:chgData name="Andreas Weiss" userId="86f45389-4ad9-4ce5-aa22-b4e8edefafef" providerId="ADAL" clId="{BF97026B-F088-444A-89FB-4AB1CE25C7E5}" dt="2021-08-31T12:50:22.929" v="1131" actId="21"/>
          <ac:spMkLst>
            <pc:docMk/>
            <pc:sldMk cId="277429062" sldId="462"/>
            <ac:spMk id="347" creationId="{27EAFAA0-96D1-482E-B58D-E4554D97BE25}"/>
          </ac:spMkLst>
        </pc:spChg>
        <pc:spChg chg="add del mod">
          <ac:chgData name="Andreas Weiss" userId="86f45389-4ad9-4ce5-aa22-b4e8edefafef" providerId="ADAL" clId="{BF97026B-F088-444A-89FB-4AB1CE25C7E5}" dt="2021-08-31T12:50:12.718" v="1128"/>
          <ac:spMkLst>
            <pc:docMk/>
            <pc:sldMk cId="277429062" sldId="462"/>
            <ac:spMk id="349" creationId="{CCEA033F-0B86-489D-AA04-DBFCDACCD629}"/>
          </ac:spMkLst>
        </pc:spChg>
        <pc:spChg chg="add mod">
          <ac:chgData name="Andreas Weiss" userId="86f45389-4ad9-4ce5-aa22-b4e8edefafef" providerId="ADAL" clId="{BF97026B-F088-444A-89FB-4AB1CE25C7E5}" dt="2021-08-31T12:50:31.350" v="1133"/>
          <ac:spMkLst>
            <pc:docMk/>
            <pc:sldMk cId="277429062" sldId="462"/>
            <ac:spMk id="350" creationId="{B187A0B6-31B0-412D-88D3-75FE64917BB0}"/>
          </ac:spMkLst>
        </pc:spChg>
        <pc:spChg chg="add del mod">
          <ac:chgData name="Andreas Weiss" userId="86f45389-4ad9-4ce5-aa22-b4e8edefafef" providerId="ADAL" clId="{BF97026B-F088-444A-89FB-4AB1CE25C7E5}" dt="2021-09-03T08:09:22.025" v="5154" actId="478"/>
          <ac:spMkLst>
            <pc:docMk/>
            <pc:sldMk cId="277429062" sldId="462"/>
            <ac:spMk id="351" creationId="{2F461835-72D2-4BF1-A81F-7BD694B39CFB}"/>
          </ac:spMkLst>
        </pc:spChg>
        <pc:spChg chg="add mod">
          <ac:chgData name="Andreas Weiss" userId="86f45389-4ad9-4ce5-aa22-b4e8edefafef" providerId="ADAL" clId="{BF97026B-F088-444A-89FB-4AB1CE25C7E5}" dt="2021-08-31T12:50:31.350" v="1133"/>
          <ac:spMkLst>
            <pc:docMk/>
            <pc:sldMk cId="277429062" sldId="462"/>
            <ac:spMk id="352" creationId="{14CE8CED-A004-4DDA-8100-0B75FCA82B62}"/>
          </ac:spMkLst>
        </pc:spChg>
        <pc:grpChg chg="add del mod">
          <ac:chgData name="Andreas Weiss" userId="86f45389-4ad9-4ce5-aa22-b4e8edefafef" providerId="ADAL" clId="{BF97026B-F088-444A-89FB-4AB1CE25C7E5}" dt="2021-08-31T11:32:29.558" v="137" actId="165"/>
          <ac:grpSpMkLst>
            <pc:docMk/>
            <pc:sldMk cId="277429062" sldId="462"/>
            <ac:grpSpMk id="2" creationId="{92A38ADB-882D-4A1E-93BF-2CC99602CDE7}"/>
          </ac:grpSpMkLst>
        </pc:grpChg>
        <pc:grpChg chg="add mod topLvl">
          <ac:chgData name="Andreas Weiss" userId="86f45389-4ad9-4ce5-aa22-b4e8edefafef" providerId="ADAL" clId="{BF97026B-F088-444A-89FB-4AB1CE25C7E5}" dt="2021-08-31T11:34:58.778" v="349" actId="1036"/>
          <ac:grpSpMkLst>
            <pc:docMk/>
            <pc:sldMk cId="277429062" sldId="462"/>
            <ac:grpSpMk id="12" creationId="{0208DEC1-6E64-4CDD-9A6A-DEEA978E4C39}"/>
          </ac:grpSpMkLst>
        </pc:grpChg>
        <pc:grpChg chg="add mod topLvl">
          <ac:chgData name="Andreas Weiss" userId="86f45389-4ad9-4ce5-aa22-b4e8edefafef" providerId="ADAL" clId="{BF97026B-F088-444A-89FB-4AB1CE25C7E5}" dt="2021-08-31T11:34:58.778" v="349" actId="1036"/>
          <ac:grpSpMkLst>
            <pc:docMk/>
            <pc:sldMk cId="277429062" sldId="462"/>
            <ac:grpSpMk id="21" creationId="{93B5DC4F-099A-438F-8778-B2D805512FA2}"/>
          </ac:grpSpMkLst>
        </pc:grpChg>
        <pc:grpChg chg="add mod topLvl">
          <ac:chgData name="Andreas Weiss" userId="86f45389-4ad9-4ce5-aa22-b4e8edefafef" providerId="ADAL" clId="{BF97026B-F088-444A-89FB-4AB1CE25C7E5}" dt="2021-08-31T11:34:58.778" v="349" actId="1036"/>
          <ac:grpSpMkLst>
            <pc:docMk/>
            <pc:sldMk cId="277429062" sldId="462"/>
            <ac:grpSpMk id="35" creationId="{98574C90-8803-4CFD-B891-42FC59FDFCBC}"/>
          </ac:grpSpMkLst>
        </pc:grpChg>
        <pc:grpChg chg="add del mod">
          <ac:chgData name="Andreas Weiss" userId="86f45389-4ad9-4ce5-aa22-b4e8edefafef" providerId="ADAL" clId="{BF97026B-F088-444A-89FB-4AB1CE25C7E5}" dt="2021-08-31T11:29:17.224" v="87" actId="478"/>
          <ac:grpSpMkLst>
            <pc:docMk/>
            <pc:sldMk cId="277429062" sldId="462"/>
            <ac:grpSpMk id="53" creationId="{DC8D55AF-9E32-4BCE-BB96-9EBA239A8682}"/>
          </ac:grpSpMkLst>
        </pc:grpChg>
        <pc:grpChg chg="add del mod">
          <ac:chgData name="Andreas Weiss" userId="86f45389-4ad9-4ce5-aa22-b4e8edefafef" providerId="ADAL" clId="{BF97026B-F088-444A-89FB-4AB1CE25C7E5}" dt="2021-08-31T11:29:17.224" v="87" actId="478"/>
          <ac:grpSpMkLst>
            <pc:docMk/>
            <pc:sldMk cId="277429062" sldId="462"/>
            <ac:grpSpMk id="66" creationId="{214ED115-3C9B-40FA-9982-0AF80D556813}"/>
          </ac:grpSpMkLst>
        </pc:grpChg>
        <pc:grpChg chg="add del mod">
          <ac:chgData name="Andreas Weiss" userId="86f45389-4ad9-4ce5-aa22-b4e8edefafef" providerId="ADAL" clId="{BF97026B-F088-444A-89FB-4AB1CE25C7E5}" dt="2021-08-31T11:29:17.224" v="87" actId="478"/>
          <ac:grpSpMkLst>
            <pc:docMk/>
            <pc:sldMk cId="277429062" sldId="462"/>
            <ac:grpSpMk id="83" creationId="{0B813A32-1CC2-42EE-B63F-399C645C6009}"/>
          </ac:grpSpMkLst>
        </pc:grpChg>
        <pc:grpChg chg="add del mod">
          <ac:chgData name="Andreas Weiss" userId="86f45389-4ad9-4ce5-aa22-b4e8edefafef" providerId="ADAL" clId="{BF97026B-F088-444A-89FB-4AB1CE25C7E5}" dt="2021-08-31T11:23:19.974" v="42" actId="478"/>
          <ac:grpSpMkLst>
            <pc:docMk/>
            <pc:sldMk cId="277429062" sldId="462"/>
            <ac:grpSpMk id="118" creationId="{3B69323F-50CA-43D4-BFA9-37CB502838C9}"/>
          </ac:grpSpMkLst>
        </pc:grpChg>
        <pc:grpChg chg="add del mod">
          <ac:chgData name="Andreas Weiss" userId="86f45389-4ad9-4ce5-aa22-b4e8edefafef" providerId="ADAL" clId="{BF97026B-F088-444A-89FB-4AB1CE25C7E5}" dt="2021-08-31T11:29:17.224" v="87" actId="478"/>
          <ac:grpSpMkLst>
            <pc:docMk/>
            <pc:sldMk cId="277429062" sldId="462"/>
            <ac:grpSpMk id="131" creationId="{FAB788A1-3DBE-433B-8999-968821678C3F}"/>
          </ac:grpSpMkLst>
        </pc:grpChg>
        <pc:grpChg chg="add del mod">
          <ac:chgData name="Andreas Weiss" userId="86f45389-4ad9-4ce5-aa22-b4e8edefafef" providerId="ADAL" clId="{BF97026B-F088-444A-89FB-4AB1CE25C7E5}" dt="2021-08-31T11:29:17.224" v="87" actId="478"/>
          <ac:grpSpMkLst>
            <pc:docMk/>
            <pc:sldMk cId="277429062" sldId="462"/>
            <ac:grpSpMk id="137" creationId="{8EB7678F-81B6-4831-BBCB-5ACE9C0E25F7}"/>
          </ac:grpSpMkLst>
        </pc:grpChg>
        <pc:grpChg chg="add del mod">
          <ac:chgData name="Andreas Weiss" userId="86f45389-4ad9-4ce5-aa22-b4e8edefafef" providerId="ADAL" clId="{BF97026B-F088-444A-89FB-4AB1CE25C7E5}" dt="2021-08-31T11:39:21.315" v="386" actId="478"/>
          <ac:grpSpMkLst>
            <pc:docMk/>
            <pc:sldMk cId="277429062" sldId="462"/>
            <ac:grpSpMk id="153" creationId="{B1EB724B-3CFE-4400-9169-AA4C2FCBBBA8}"/>
          </ac:grpSpMkLst>
        </pc:grpChg>
        <pc:grpChg chg="add mod">
          <ac:chgData name="Andreas Weiss" userId="86f45389-4ad9-4ce5-aa22-b4e8edefafef" providerId="ADAL" clId="{BF97026B-F088-444A-89FB-4AB1CE25C7E5}" dt="2021-08-31T11:38:17.136" v="374" actId="1076"/>
          <ac:grpSpMkLst>
            <pc:docMk/>
            <pc:sldMk cId="277429062" sldId="462"/>
            <ac:grpSpMk id="170" creationId="{B7091F61-7899-4BC3-9E67-994F8EC8A974}"/>
          </ac:grpSpMkLst>
        </pc:grpChg>
        <pc:grpChg chg="add del mod">
          <ac:chgData name="Andreas Weiss" userId="86f45389-4ad9-4ce5-aa22-b4e8edefafef" providerId="ADAL" clId="{BF97026B-F088-444A-89FB-4AB1CE25C7E5}" dt="2021-08-31T11:39:19.360" v="385" actId="478"/>
          <ac:grpSpMkLst>
            <pc:docMk/>
            <pc:sldMk cId="277429062" sldId="462"/>
            <ac:grpSpMk id="181" creationId="{B992A15F-E7BE-42D6-91E0-AC2C71D94370}"/>
          </ac:grpSpMkLst>
        </pc:grpChg>
        <pc:grpChg chg="add mod">
          <ac:chgData name="Andreas Weiss" userId="86f45389-4ad9-4ce5-aa22-b4e8edefafef" providerId="ADAL" clId="{BF97026B-F088-444A-89FB-4AB1CE25C7E5}" dt="2021-08-31T11:39:42.714" v="390" actId="1076"/>
          <ac:grpSpMkLst>
            <pc:docMk/>
            <pc:sldMk cId="277429062" sldId="462"/>
            <ac:grpSpMk id="194" creationId="{B78927B2-A12B-4562-A08F-6B0F7A97CA2E}"/>
          </ac:grpSpMkLst>
        </pc:grpChg>
        <pc:grpChg chg="add mod">
          <ac:chgData name="Andreas Weiss" userId="86f45389-4ad9-4ce5-aa22-b4e8edefafef" providerId="ADAL" clId="{BF97026B-F088-444A-89FB-4AB1CE25C7E5}" dt="2021-08-31T11:39:52.905" v="393" actId="1076"/>
          <ac:grpSpMkLst>
            <pc:docMk/>
            <pc:sldMk cId="277429062" sldId="462"/>
            <ac:grpSpMk id="202" creationId="{40B27C39-15AC-4E8D-9EEC-1CC8BFA231FC}"/>
          </ac:grpSpMkLst>
        </pc:grpChg>
        <pc:grpChg chg="add del mod">
          <ac:chgData name="Andreas Weiss" userId="86f45389-4ad9-4ce5-aa22-b4e8edefafef" providerId="ADAL" clId="{BF97026B-F088-444A-89FB-4AB1CE25C7E5}" dt="2021-08-31T12:15:43.890" v="904" actId="478"/>
          <ac:grpSpMkLst>
            <pc:docMk/>
            <pc:sldMk cId="277429062" sldId="462"/>
            <ac:grpSpMk id="227" creationId="{74C9BB8B-1D3D-44DE-AEE3-6119CF5DBFA5}"/>
          </ac:grpSpMkLst>
        </pc:grpChg>
        <pc:grpChg chg="add del mod">
          <ac:chgData name="Andreas Weiss" userId="86f45389-4ad9-4ce5-aa22-b4e8edefafef" providerId="ADAL" clId="{BF97026B-F088-444A-89FB-4AB1CE25C7E5}" dt="2021-08-31T12:16:49.329" v="915" actId="478"/>
          <ac:grpSpMkLst>
            <pc:docMk/>
            <pc:sldMk cId="277429062" sldId="462"/>
            <ac:grpSpMk id="228" creationId="{82DD7D6F-79C9-4DD7-B353-99982CD97163}"/>
          </ac:grpSpMkLst>
        </pc:grpChg>
        <pc:grpChg chg="add del mod">
          <ac:chgData name="Andreas Weiss" userId="86f45389-4ad9-4ce5-aa22-b4e8edefafef" providerId="ADAL" clId="{BF97026B-F088-444A-89FB-4AB1CE25C7E5}" dt="2021-08-31T11:47:00.936" v="512" actId="478"/>
          <ac:grpSpMkLst>
            <pc:docMk/>
            <pc:sldMk cId="277429062" sldId="462"/>
            <ac:grpSpMk id="234" creationId="{3F1DF513-2657-4E23-A37C-983A5EBB347D}"/>
          </ac:grpSpMkLst>
        </pc:grpChg>
        <pc:grpChg chg="add mod">
          <ac:chgData name="Andreas Weiss" userId="86f45389-4ad9-4ce5-aa22-b4e8edefafef" providerId="ADAL" clId="{BF97026B-F088-444A-89FB-4AB1CE25C7E5}" dt="2021-08-31T12:23:17.651" v="1014" actId="1076"/>
          <ac:grpSpMkLst>
            <pc:docMk/>
            <pc:sldMk cId="277429062" sldId="462"/>
            <ac:grpSpMk id="250" creationId="{7800F011-74D4-4BDF-998D-F2B01C32784F}"/>
          </ac:grpSpMkLst>
        </pc:grpChg>
        <pc:grpChg chg="add mod">
          <ac:chgData name="Andreas Weiss" userId="86f45389-4ad9-4ce5-aa22-b4e8edefafef" providerId="ADAL" clId="{BF97026B-F088-444A-89FB-4AB1CE25C7E5}" dt="2021-08-31T12:23:21.595" v="1015" actId="1076"/>
          <ac:grpSpMkLst>
            <pc:docMk/>
            <pc:sldMk cId="277429062" sldId="462"/>
            <ac:grpSpMk id="251" creationId="{E38D96A2-9FFC-4683-88C6-BFF907D34B4A}"/>
          </ac:grpSpMkLst>
        </pc:grpChg>
        <pc:grpChg chg="add mod">
          <ac:chgData name="Andreas Weiss" userId="86f45389-4ad9-4ce5-aa22-b4e8edefafef" providerId="ADAL" clId="{BF97026B-F088-444A-89FB-4AB1CE25C7E5}" dt="2021-08-31T12:22:23.105" v="994" actId="164"/>
          <ac:grpSpMkLst>
            <pc:docMk/>
            <pc:sldMk cId="277429062" sldId="462"/>
            <ac:grpSpMk id="258" creationId="{8142E70B-5BF2-45EE-B251-73240675F168}"/>
          </ac:grpSpMkLst>
        </pc:grpChg>
        <pc:grpChg chg="add del mod">
          <ac:chgData name="Andreas Weiss" userId="86f45389-4ad9-4ce5-aa22-b4e8edefafef" providerId="ADAL" clId="{BF97026B-F088-444A-89FB-4AB1CE25C7E5}" dt="2021-08-31T12:19:32.657" v="965" actId="478"/>
          <ac:grpSpMkLst>
            <pc:docMk/>
            <pc:sldMk cId="277429062" sldId="462"/>
            <ac:grpSpMk id="268" creationId="{DCECB08F-BC41-4002-A3D4-ACF9227D6ACA}"/>
          </ac:grpSpMkLst>
        </pc:grpChg>
        <pc:grpChg chg="mod topLvl">
          <ac:chgData name="Andreas Weiss" userId="86f45389-4ad9-4ce5-aa22-b4e8edefafef" providerId="ADAL" clId="{BF97026B-F088-444A-89FB-4AB1CE25C7E5}" dt="2021-08-31T12:22:23.105" v="994" actId="164"/>
          <ac:grpSpMkLst>
            <pc:docMk/>
            <pc:sldMk cId="277429062" sldId="462"/>
            <ac:grpSpMk id="269" creationId="{76B73E41-200C-4C7C-B913-C567713C26BC}"/>
          </ac:grpSpMkLst>
        </pc:grpChg>
        <pc:grpChg chg="mod">
          <ac:chgData name="Andreas Weiss" userId="86f45389-4ad9-4ce5-aa22-b4e8edefafef" providerId="ADAL" clId="{BF97026B-F088-444A-89FB-4AB1CE25C7E5}" dt="2021-08-31T12:19:47.891" v="967" actId="207"/>
          <ac:grpSpMkLst>
            <pc:docMk/>
            <pc:sldMk cId="277429062" sldId="462"/>
            <ac:grpSpMk id="271" creationId="{CE71AA43-05F0-4506-8749-D7D63F7278C4}"/>
          </ac:grpSpMkLst>
        </pc:grpChg>
        <pc:grpChg chg="mod">
          <ac:chgData name="Andreas Weiss" userId="86f45389-4ad9-4ce5-aa22-b4e8edefafef" providerId="ADAL" clId="{BF97026B-F088-444A-89FB-4AB1CE25C7E5}" dt="2021-08-31T12:19:47.891" v="967" actId="207"/>
          <ac:grpSpMkLst>
            <pc:docMk/>
            <pc:sldMk cId="277429062" sldId="462"/>
            <ac:grpSpMk id="276" creationId="{1BDF622C-A74B-4DB5-BB2C-6A7B69B99AC0}"/>
          </ac:grpSpMkLst>
        </pc:grpChg>
        <pc:grpChg chg="add del mod">
          <ac:chgData name="Andreas Weiss" userId="86f45389-4ad9-4ce5-aa22-b4e8edefafef" providerId="ADAL" clId="{BF97026B-F088-444A-89FB-4AB1CE25C7E5}" dt="2021-08-31T12:22:30.543" v="996" actId="478"/>
          <ac:grpSpMkLst>
            <pc:docMk/>
            <pc:sldMk cId="277429062" sldId="462"/>
            <ac:grpSpMk id="281" creationId="{B86956DF-9D17-4A46-A938-1A06BD90980B}"/>
          </ac:grpSpMkLst>
        </pc:grpChg>
        <pc:grpChg chg="add del mod">
          <ac:chgData name="Andreas Weiss" userId="86f45389-4ad9-4ce5-aa22-b4e8edefafef" providerId="ADAL" clId="{BF97026B-F088-444A-89FB-4AB1CE25C7E5}" dt="2021-08-31T12:22:33.423" v="997" actId="478"/>
          <ac:grpSpMkLst>
            <pc:docMk/>
            <pc:sldMk cId="277429062" sldId="462"/>
            <ac:grpSpMk id="290" creationId="{6FDE10D9-C5DE-4E92-902F-15AA046DFCC1}"/>
          </ac:grpSpMkLst>
        </pc:grpChg>
        <pc:grpChg chg="mod">
          <ac:chgData name="Andreas Weiss" userId="86f45389-4ad9-4ce5-aa22-b4e8edefafef" providerId="ADAL" clId="{BF97026B-F088-444A-89FB-4AB1CE25C7E5}" dt="2021-08-31T12:21:56.481" v="988"/>
          <ac:grpSpMkLst>
            <pc:docMk/>
            <pc:sldMk cId="277429062" sldId="462"/>
            <ac:grpSpMk id="291" creationId="{745ACEE6-48FA-44A0-A078-63EFAA8E92BA}"/>
          </ac:grpSpMkLst>
        </pc:grpChg>
        <pc:grpChg chg="mod">
          <ac:chgData name="Andreas Weiss" userId="86f45389-4ad9-4ce5-aa22-b4e8edefafef" providerId="ADAL" clId="{BF97026B-F088-444A-89FB-4AB1CE25C7E5}" dt="2021-08-31T12:21:56.481" v="988"/>
          <ac:grpSpMkLst>
            <pc:docMk/>
            <pc:sldMk cId="277429062" sldId="462"/>
            <ac:grpSpMk id="296" creationId="{0E82EA96-D834-4D21-B5DC-07EDF2F3D639}"/>
          </ac:grpSpMkLst>
        </pc:grpChg>
        <pc:grpChg chg="add mod">
          <ac:chgData name="Andreas Weiss" userId="86f45389-4ad9-4ce5-aa22-b4e8edefafef" providerId="ADAL" clId="{BF97026B-F088-444A-89FB-4AB1CE25C7E5}" dt="2021-08-31T12:22:28.666" v="995" actId="1076"/>
          <ac:grpSpMkLst>
            <pc:docMk/>
            <pc:sldMk cId="277429062" sldId="462"/>
            <ac:grpSpMk id="301" creationId="{B5C28922-BCB7-4BCE-AEB1-4C11044F2ED9}"/>
          </ac:grpSpMkLst>
        </pc:grpChg>
        <pc:grpChg chg="add mod">
          <ac:chgData name="Andreas Weiss" userId="86f45389-4ad9-4ce5-aa22-b4e8edefafef" providerId="ADAL" clId="{BF97026B-F088-444A-89FB-4AB1CE25C7E5}" dt="2021-08-31T12:22:46.701" v="999" actId="1076"/>
          <ac:grpSpMkLst>
            <pc:docMk/>
            <pc:sldMk cId="277429062" sldId="462"/>
            <ac:grpSpMk id="302" creationId="{93594429-D03A-4C52-95CF-75E80452072E}"/>
          </ac:grpSpMkLst>
        </pc:grpChg>
        <pc:grpChg chg="mod">
          <ac:chgData name="Andreas Weiss" userId="86f45389-4ad9-4ce5-aa22-b4e8edefafef" providerId="ADAL" clId="{BF97026B-F088-444A-89FB-4AB1CE25C7E5}" dt="2021-08-31T12:22:35.217" v="998"/>
          <ac:grpSpMkLst>
            <pc:docMk/>
            <pc:sldMk cId="277429062" sldId="462"/>
            <ac:grpSpMk id="303" creationId="{A02E6B8F-5B89-4771-BFED-4787F0954E05}"/>
          </ac:grpSpMkLst>
        </pc:grpChg>
        <pc:grpChg chg="mod">
          <ac:chgData name="Andreas Weiss" userId="86f45389-4ad9-4ce5-aa22-b4e8edefafef" providerId="ADAL" clId="{BF97026B-F088-444A-89FB-4AB1CE25C7E5}" dt="2021-08-31T12:22:35.217" v="998"/>
          <ac:grpSpMkLst>
            <pc:docMk/>
            <pc:sldMk cId="277429062" sldId="462"/>
            <ac:grpSpMk id="304" creationId="{1E4C75BC-C2D7-4C99-8295-F90B7FAF941E}"/>
          </ac:grpSpMkLst>
        </pc:grpChg>
        <pc:grpChg chg="mod">
          <ac:chgData name="Andreas Weiss" userId="86f45389-4ad9-4ce5-aa22-b4e8edefafef" providerId="ADAL" clId="{BF97026B-F088-444A-89FB-4AB1CE25C7E5}" dt="2021-08-31T12:22:35.217" v="998"/>
          <ac:grpSpMkLst>
            <pc:docMk/>
            <pc:sldMk cId="277429062" sldId="462"/>
            <ac:grpSpMk id="305" creationId="{C6A2F3EB-152E-4737-95D9-DEA4E050277F}"/>
          </ac:grpSpMkLst>
        </pc:grpChg>
        <pc:grpChg chg="mod">
          <ac:chgData name="Andreas Weiss" userId="86f45389-4ad9-4ce5-aa22-b4e8edefafef" providerId="ADAL" clId="{BF97026B-F088-444A-89FB-4AB1CE25C7E5}" dt="2021-08-31T12:22:35.217" v="998"/>
          <ac:grpSpMkLst>
            <pc:docMk/>
            <pc:sldMk cId="277429062" sldId="462"/>
            <ac:grpSpMk id="310" creationId="{3ADF944C-2AB2-45ED-9E87-EB1A50CDB1D6}"/>
          </ac:grpSpMkLst>
        </pc:grpChg>
        <pc:grpChg chg="add mod">
          <ac:chgData name="Andreas Weiss" userId="86f45389-4ad9-4ce5-aa22-b4e8edefafef" providerId="ADAL" clId="{BF97026B-F088-444A-89FB-4AB1CE25C7E5}" dt="2021-08-31T12:22:53.978" v="1001" actId="1076"/>
          <ac:grpSpMkLst>
            <pc:docMk/>
            <pc:sldMk cId="277429062" sldId="462"/>
            <ac:grpSpMk id="323" creationId="{FEA4DE2C-AB99-4ADC-BAB5-784149AF82CD}"/>
          </ac:grpSpMkLst>
        </pc:grpChg>
        <pc:grpChg chg="mod">
          <ac:chgData name="Andreas Weiss" userId="86f45389-4ad9-4ce5-aa22-b4e8edefafef" providerId="ADAL" clId="{BF97026B-F088-444A-89FB-4AB1CE25C7E5}" dt="2021-08-31T12:22:48.372" v="1000"/>
          <ac:grpSpMkLst>
            <pc:docMk/>
            <pc:sldMk cId="277429062" sldId="462"/>
            <ac:grpSpMk id="324" creationId="{EF01EA9A-6435-41A5-B696-7673E2132AB9}"/>
          </ac:grpSpMkLst>
        </pc:grpChg>
        <pc:grpChg chg="mod">
          <ac:chgData name="Andreas Weiss" userId="86f45389-4ad9-4ce5-aa22-b4e8edefafef" providerId="ADAL" clId="{BF97026B-F088-444A-89FB-4AB1CE25C7E5}" dt="2021-08-31T12:22:48.372" v="1000"/>
          <ac:grpSpMkLst>
            <pc:docMk/>
            <pc:sldMk cId="277429062" sldId="462"/>
            <ac:grpSpMk id="325" creationId="{074C6CC3-F35D-45AB-BF9E-5CC43DE46CCE}"/>
          </ac:grpSpMkLst>
        </pc:grpChg>
        <pc:grpChg chg="mod">
          <ac:chgData name="Andreas Weiss" userId="86f45389-4ad9-4ce5-aa22-b4e8edefafef" providerId="ADAL" clId="{BF97026B-F088-444A-89FB-4AB1CE25C7E5}" dt="2021-08-31T12:22:48.372" v="1000"/>
          <ac:grpSpMkLst>
            <pc:docMk/>
            <pc:sldMk cId="277429062" sldId="462"/>
            <ac:grpSpMk id="326" creationId="{D4758825-3658-4160-B4B3-1823367909AD}"/>
          </ac:grpSpMkLst>
        </pc:grpChg>
        <pc:grpChg chg="mod">
          <ac:chgData name="Andreas Weiss" userId="86f45389-4ad9-4ce5-aa22-b4e8edefafef" providerId="ADAL" clId="{BF97026B-F088-444A-89FB-4AB1CE25C7E5}" dt="2021-08-31T12:22:48.372" v="1000"/>
          <ac:grpSpMkLst>
            <pc:docMk/>
            <pc:sldMk cId="277429062" sldId="462"/>
            <ac:grpSpMk id="331" creationId="{905AB76E-0C42-4400-9A54-E1A756173C93}"/>
          </ac:grpSpMkLst>
        </pc:grpChg>
        <pc:picChg chg="add del mod">
          <ac:chgData name="Andreas Weiss" userId="86f45389-4ad9-4ce5-aa22-b4e8edefafef" providerId="ADAL" clId="{BF97026B-F088-444A-89FB-4AB1CE25C7E5}" dt="2021-08-31T11:29:17.224" v="87" actId="478"/>
          <ac:picMkLst>
            <pc:docMk/>
            <pc:sldMk cId="277429062" sldId="462"/>
            <ac:picMk id="51" creationId="{5DC034F5-3B02-44FC-8966-5C64BCD49D79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54" creationId="{9748B9BE-7BDF-4FA2-B334-50E53D735ABA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55" creationId="{A5EE4DD5-7EFE-4371-843E-1F295143198A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56" creationId="{43D402A6-E7FF-4A01-B9D2-41C9F7DD61A7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57" creationId="{EBF55FD2-49AF-43F5-93F9-898794B55661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58" creationId="{F4192069-C699-44AC-8166-C8ED5B8AD3EF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59" creationId="{6045644D-E87A-4EC2-A113-A5FDF37364C3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60" creationId="{4A804F7E-7224-49C1-8E9E-A0EE0961956C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61" creationId="{7A826916-4C99-4A67-84BF-42C7DAD4BBE5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62" creationId="{EF2F64F3-D1B4-4D08-AB86-472277668576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87" creationId="{3D657274-AA0F-4934-8A97-278C8D9FD4A9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88" creationId="{CA0FEE1C-2C7A-47C4-9BD2-2545BCFEE72B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89" creationId="{7F425703-D9F1-4399-A71D-65319605A90E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90" creationId="{7EB0DB57-D0B6-4C20-82C4-867EDB019F55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91" creationId="{AA88681A-7FC5-4EC9-93E9-116C1787384C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92" creationId="{B64C5AE9-74F3-49EE-BEDE-5FD1F5D2A191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93" creationId="{720343BB-7697-4FF8-88D4-3457F1AED19A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94" creationId="{C5CE4EDA-7848-4267-8019-BF094271124E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95" creationId="{FB15669A-99DD-4DF0-9E86-4D4A675FC072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96" creationId="{9784A8D2-E27E-4987-8A33-D8EAFEF5CFCE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97" creationId="{6C49CBA6-0E9D-4075-AED5-C0E401CF52C7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98" creationId="{77F90672-5467-4B0A-BE92-E2101A781899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99" creationId="{0693F231-B40F-4F8F-BC9F-84D80394B88D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100" creationId="{7E9642D8-9356-4DCD-8947-E39FDBFDB2E6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101" creationId="{3560E7BB-C7E3-4CD2-9963-918BADEEB25F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102" creationId="{7E0C0CFB-8F63-446E-9B41-9965DD35732E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103" creationId="{1E4808C7-6E36-47FA-B656-9ED7F1E1F9D3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104" creationId="{2E5AB8D5-F8F7-4109-B1A2-624BB427B9BB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132" creationId="{EBB49E16-B9BC-400C-AB8B-4D497897E62C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133" creationId="{324F19E0-75F0-4FEE-9127-BAF2D14296D8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134" creationId="{A235018F-3978-4868-911F-47CD4337EBFA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135" creationId="{5AE1EE99-BC3B-429C-8BA3-9535445897C4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136" creationId="{D6BDA5AA-8E56-4055-91D5-DBE2FB22ACD1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138" creationId="{630682D5-2786-42C8-A997-2A589EAB242D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139" creationId="{DB710A98-5474-44FD-BA45-CC7E0D541F8E}"/>
          </ac:picMkLst>
        </pc:picChg>
        <pc:picChg chg="mod">
          <ac:chgData name="Andreas Weiss" userId="86f45389-4ad9-4ce5-aa22-b4e8edefafef" providerId="ADAL" clId="{BF97026B-F088-444A-89FB-4AB1CE25C7E5}" dt="2021-08-31T11:23:01.990" v="38" actId="1076"/>
          <ac:picMkLst>
            <pc:docMk/>
            <pc:sldMk cId="277429062" sldId="462"/>
            <ac:picMk id="140" creationId="{1F6F3542-F650-4614-9A5B-7058499D8528}"/>
          </ac:picMkLst>
        </pc:picChg>
        <pc:picChg chg="add del mod">
          <ac:chgData name="Andreas Weiss" userId="86f45389-4ad9-4ce5-aa22-b4e8edefafef" providerId="ADAL" clId="{BF97026B-F088-444A-89FB-4AB1CE25C7E5}" dt="2021-08-31T11:29:17.224" v="87" actId="478"/>
          <ac:picMkLst>
            <pc:docMk/>
            <pc:sldMk cId="277429062" sldId="462"/>
            <ac:picMk id="144" creationId="{98538BE4-6CF7-431C-AE02-C490C1845196}"/>
          </ac:picMkLst>
        </pc:picChg>
        <pc:picChg chg="add mod">
          <ac:chgData name="Andreas Weiss" userId="86f45389-4ad9-4ce5-aa22-b4e8edefafef" providerId="ADAL" clId="{BF97026B-F088-444A-89FB-4AB1CE25C7E5}" dt="2021-08-31T11:38:39.264" v="378" actId="1076"/>
          <ac:picMkLst>
            <pc:docMk/>
            <pc:sldMk cId="277429062" sldId="462"/>
            <ac:picMk id="192" creationId="{B03713DF-1C53-44E7-BB39-B6A2407186B8}"/>
          </ac:picMkLst>
        </pc:picChg>
        <pc:picChg chg="add mod">
          <ac:chgData name="Andreas Weiss" userId="86f45389-4ad9-4ce5-aa22-b4e8edefafef" providerId="ADAL" clId="{BF97026B-F088-444A-89FB-4AB1CE25C7E5}" dt="2021-08-31T11:39:57.079" v="394" actId="1076"/>
          <ac:picMkLst>
            <pc:docMk/>
            <pc:sldMk cId="277429062" sldId="462"/>
            <ac:picMk id="193" creationId="{38D0C153-8F58-4999-903D-7FB37D14FF5C}"/>
          </ac:picMkLst>
        </pc:picChg>
        <pc:picChg chg="add mod">
          <ac:chgData name="Andreas Weiss" userId="86f45389-4ad9-4ce5-aa22-b4e8edefafef" providerId="ADAL" clId="{BF97026B-F088-444A-89FB-4AB1CE25C7E5}" dt="2021-08-31T11:40:20.638" v="403" actId="1076"/>
          <ac:picMkLst>
            <pc:docMk/>
            <pc:sldMk cId="277429062" sldId="462"/>
            <ac:picMk id="210" creationId="{94A91789-2F72-4D7C-8202-6963A9061B91}"/>
          </ac:picMkLst>
        </pc:picChg>
        <pc:picChg chg="add mod">
          <ac:chgData name="Andreas Weiss" userId="86f45389-4ad9-4ce5-aa22-b4e8edefafef" providerId="ADAL" clId="{BF97026B-F088-444A-89FB-4AB1CE25C7E5}" dt="2021-08-31T11:40:30.031" v="405" actId="1076"/>
          <ac:picMkLst>
            <pc:docMk/>
            <pc:sldMk cId="277429062" sldId="462"/>
            <ac:picMk id="211" creationId="{5B161967-EF20-46E9-8545-F1A217FAE1E3}"/>
          </ac:picMkLst>
        </pc:picChg>
        <pc:picChg chg="add mod">
          <ac:chgData name="Andreas Weiss" userId="86f45389-4ad9-4ce5-aa22-b4e8edefafef" providerId="ADAL" clId="{BF97026B-F088-444A-89FB-4AB1CE25C7E5}" dt="2021-08-31T11:40:46.920" v="408" actId="1076"/>
          <ac:picMkLst>
            <pc:docMk/>
            <pc:sldMk cId="277429062" sldId="462"/>
            <ac:picMk id="212" creationId="{6093710C-C215-450D-B64B-32E8A89C1A0A}"/>
          </ac:picMkLst>
        </pc:picChg>
        <pc:picChg chg="add mod">
          <ac:chgData name="Andreas Weiss" userId="86f45389-4ad9-4ce5-aa22-b4e8edefafef" providerId="ADAL" clId="{BF97026B-F088-444A-89FB-4AB1CE25C7E5}" dt="2021-08-31T11:40:54.079" v="410" actId="1076"/>
          <ac:picMkLst>
            <pc:docMk/>
            <pc:sldMk cId="277429062" sldId="462"/>
            <ac:picMk id="213" creationId="{33585029-A6FA-4F3E-A0B7-717ADEABCB65}"/>
          </ac:picMkLst>
        </pc:picChg>
        <pc:picChg chg="add del mod">
          <ac:chgData name="Andreas Weiss" userId="86f45389-4ad9-4ce5-aa22-b4e8edefafef" providerId="ADAL" clId="{BF97026B-F088-444A-89FB-4AB1CE25C7E5}" dt="2021-08-31T12:13:27.240" v="868" actId="478"/>
          <ac:picMkLst>
            <pc:docMk/>
            <pc:sldMk cId="277429062" sldId="462"/>
            <ac:picMk id="214" creationId="{B2642B84-9CEE-4660-923E-EB6859280806}"/>
          </ac:picMkLst>
        </pc:picChg>
        <pc:picChg chg="add del mod">
          <ac:chgData name="Andreas Weiss" userId="86f45389-4ad9-4ce5-aa22-b4e8edefafef" providerId="ADAL" clId="{BF97026B-F088-444A-89FB-4AB1CE25C7E5}" dt="2021-08-31T12:13:27.883" v="869" actId="478"/>
          <ac:picMkLst>
            <pc:docMk/>
            <pc:sldMk cId="277429062" sldId="462"/>
            <ac:picMk id="215" creationId="{85E298EF-1EE6-4904-A45A-77E2FBADF2BF}"/>
          </ac:picMkLst>
        </pc:picChg>
        <pc:picChg chg="add del mod">
          <ac:chgData name="Andreas Weiss" userId="86f45389-4ad9-4ce5-aa22-b4e8edefafef" providerId="ADAL" clId="{BF97026B-F088-444A-89FB-4AB1CE25C7E5}" dt="2021-08-31T12:14:35.450" v="889" actId="478"/>
          <ac:picMkLst>
            <pc:docMk/>
            <pc:sldMk cId="277429062" sldId="462"/>
            <ac:picMk id="216" creationId="{DE2A0B48-2E7C-463B-9B0C-DBEE040F44B9}"/>
          </ac:picMkLst>
        </pc:picChg>
        <pc:picChg chg="add del mod">
          <ac:chgData name="Andreas Weiss" userId="86f45389-4ad9-4ce5-aa22-b4e8edefafef" providerId="ADAL" clId="{BF97026B-F088-444A-89FB-4AB1CE25C7E5}" dt="2021-08-31T12:14:36.987" v="890" actId="478"/>
          <ac:picMkLst>
            <pc:docMk/>
            <pc:sldMk cId="277429062" sldId="462"/>
            <ac:picMk id="217" creationId="{447C04C6-E3F0-4227-BC92-99C65F97A41B}"/>
          </ac:picMkLst>
        </pc:picChg>
        <pc:picChg chg="add del mod ord">
          <ac:chgData name="Andreas Weiss" userId="86f45389-4ad9-4ce5-aa22-b4e8edefafef" providerId="ADAL" clId="{BF97026B-F088-444A-89FB-4AB1CE25C7E5}" dt="2021-08-31T11:43:32.466" v="443" actId="478"/>
          <ac:picMkLst>
            <pc:docMk/>
            <pc:sldMk cId="277429062" sldId="462"/>
            <ac:picMk id="218" creationId="{D0FB93DB-4D78-4E27-BC09-0CD8D7AE13AA}"/>
          </ac:picMkLst>
        </pc:picChg>
        <pc:picChg chg="add del mod">
          <ac:chgData name="Andreas Weiss" userId="86f45389-4ad9-4ce5-aa22-b4e8edefafef" providerId="ADAL" clId="{BF97026B-F088-444A-89FB-4AB1CE25C7E5}" dt="2021-08-31T12:13:29.975" v="870" actId="478"/>
          <ac:picMkLst>
            <pc:docMk/>
            <pc:sldMk cId="277429062" sldId="462"/>
            <ac:picMk id="220" creationId="{D862236F-C87C-4E20-9B74-219A37CC87DA}"/>
          </ac:picMkLst>
        </pc:picChg>
        <pc:picChg chg="add mod">
          <ac:chgData name="Andreas Weiss" userId="86f45389-4ad9-4ce5-aa22-b4e8edefafef" providerId="ADAL" clId="{BF97026B-F088-444A-89FB-4AB1CE25C7E5}" dt="2021-08-31T11:45:27.664" v="448" actId="1076"/>
          <ac:picMkLst>
            <pc:docMk/>
            <pc:sldMk cId="277429062" sldId="462"/>
            <ac:picMk id="221" creationId="{37091071-CBE7-46B6-B693-2CF30E65BF11}"/>
          </ac:picMkLst>
        </pc:picChg>
        <pc:picChg chg="add mod">
          <ac:chgData name="Andreas Weiss" userId="86f45389-4ad9-4ce5-aa22-b4e8edefafef" providerId="ADAL" clId="{BF97026B-F088-444A-89FB-4AB1CE25C7E5}" dt="2021-08-31T12:07:59.740" v="700" actId="1076"/>
          <ac:picMkLst>
            <pc:docMk/>
            <pc:sldMk cId="277429062" sldId="462"/>
            <ac:picMk id="223" creationId="{E01B3366-AC21-44E4-9D7A-7DC74C798853}"/>
          </ac:picMkLst>
        </pc:picChg>
        <pc:picChg chg="add mod">
          <ac:chgData name="Andreas Weiss" userId="86f45389-4ad9-4ce5-aa22-b4e8edefafef" providerId="ADAL" clId="{BF97026B-F088-444A-89FB-4AB1CE25C7E5}" dt="2021-08-31T12:07:59.740" v="700" actId="1076"/>
          <ac:picMkLst>
            <pc:docMk/>
            <pc:sldMk cId="277429062" sldId="462"/>
            <ac:picMk id="224" creationId="{EB5ECB86-F5CD-4FB7-9095-D488FD5A24DA}"/>
          </ac:picMkLst>
        </pc:picChg>
        <pc:picChg chg="add mod">
          <ac:chgData name="Andreas Weiss" userId="86f45389-4ad9-4ce5-aa22-b4e8edefafef" providerId="ADAL" clId="{BF97026B-F088-444A-89FB-4AB1CE25C7E5}" dt="2021-08-31T12:07:59.740" v="700" actId="1076"/>
          <ac:picMkLst>
            <pc:docMk/>
            <pc:sldMk cId="277429062" sldId="462"/>
            <ac:picMk id="225" creationId="{9AF79921-A92A-45F8-A22E-CFDFD3E6A155}"/>
          </ac:picMkLst>
        </pc:picChg>
        <pc:picChg chg="add mod">
          <ac:chgData name="Andreas Weiss" userId="86f45389-4ad9-4ce5-aa22-b4e8edefafef" providerId="ADAL" clId="{BF97026B-F088-444A-89FB-4AB1CE25C7E5}" dt="2021-08-31T12:07:59.740" v="700" actId="1076"/>
          <ac:picMkLst>
            <pc:docMk/>
            <pc:sldMk cId="277429062" sldId="462"/>
            <ac:picMk id="226" creationId="{93461072-24E6-474F-8007-2B7DC8647F8E}"/>
          </ac:picMkLst>
        </pc:picChg>
        <pc:picChg chg="mod">
          <ac:chgData name="Andreas Weiss" userId="86f45389-4ad9-4ce5-aa22-b4e8edefafef" providerId="ADAL" clId="{BF97026B-F088-444A-89FB-4AB1CE25C7E5}" dt="2021-08-31T11:46:52.495" v="510" actId="1076"/>
          <ac:picMkLst>
            <pc:docMk/>
            <pc:sldMk cId="277429062" sldId="462"/>
            <ac:picMk id="230" creationId="{D230FC6E-5F20-4CED-8A5B-A12DD95FA004}"/>
          </ac:picMkLst>
        </pc:picChg>
        <pc:picChg chg="mod">
          <ac:chgData name="Andreas Weiss" userId="86f45389-4ad9-4ce5-aa22-b4e8edefafef" providerId="ADAL" clId="{BF97026B-F088-444A-89FB-4AB1CE25C7E5}" dt="2021-08-31T11:46:52.495" v="510" actId="1076"/>
          <ac:picMkLst>
            <pc:docMk/>
            <pc:sldMk cId="277429062" sldId="462"/>
            <ac:picMk id="231" creationId="{68B9C701-D7F3-4430-9D4D-31FF4CCF3805}"/>
          </ac:picMkLst>
        </pc:picChg>
        <pc:picChg chg="mod">
          <ac:chgData name="Andreas Weiss" userId="86f45389-4ad9-4ce5-aa22-b4e8edefafef" providerId="ADAL" clId="{BF97026B-F088-444A-89FB-4AB1CE25C7E5}" dt="2021-08-31T11:46:52.495" v="510" actId="1076"/>
          <ac:picMkLst>
            <pc:docMk/>
            <pc:sldMk cId="277429062" sldId="462"/>
            <ac:picMk id="232" creationId="{21029B3A-F0D7-42D2-8D99-20AF123C322C}"/>
          </ac:picMkLst>
        </pc:picChg>
        <pc:picChg chg="mod">
          <ac:chgData name="Andreas Weiss" userId="86f45389-4ad9-4ce5-aa22-b4e8edefafef" providerId="ADAL" clId="{BF97026B-F088-444A-89FB-4AB1CE25C7E5}" dt="2021-08-31T11:46:52.495" v="510" actId="1076"/>
          <ac:picMkLst>
            <pc:docMk/>
            <pc:sldMk cId="277429062" sldId="462"/>
            <ac:picMk id="233" creationId="{7CA76929-5DD4-4C34-80B1-7E24908AF336}"/>
          </ac:picMkLst>
        </pc:picChg>
        <pc:picChg chg="mod">
          <ac:chgData name="Andreas Weiss" userId="86f45389-4ad9-4ce5-aa22-b4e8edefafef" providerId="ADAL" clId="{BF97026B-F088-444A-89FB-4AB1CE25C7E5}" dt="2021-08-31T11:46:59.005" v="511"/>
          <ac:picMkLst>
            <pc:docMk/>
            <pc:sldMk cId="277429062" sldId="462"/>
            <ac:picMk id="236" creationId="{3DC7825E-17A8-4988-A778-B14BA293EC55}"/>
          </ac:picMkLst>
        </pc:picChg>
        <pc:picChg chg="mod">
          <ac:chgData name="Andreas Weiss" userId="86f45389-4ad9-4ce5-aa22-b4e8edefafef" providerId="ADAL" clId="{BF97026B-F088-444A-89FB-4AB1CE25C7E5}" dt="2021-08-31T11:46:59.005" v="511"/>
          <ac:picMkLst>
            <pc:docMk/>
            <pc:sldMk cId="277429062" sldId="462"/>
            <ac:picMk id="237" creationId="{49B127B3-8459-4CB1-B3F1-464CEC71EEFD}"/>
          </ac:picMkLst>
        </pc:picChg>
        <pc:picChg chg="mod">
          <ac:chgData name="Andreas Weiss" userId="86f45389-4ad9-4ce5-aa22-b4e8edefafef" providerId="ADAL" clId="{BF97026B-F088-444A-89FB-4AB1CE25C7E5}" dt="2021-08-31T11:46:59.005" v="511"/>
          <ac:picMkLst>
            <pc:docMk/>
            <pc:sldMk cId="277429062" sldId="462"/>
            <ac:picMk id="238" creationId="{3C08B589-FB25-4F2C-A7C7-193AE024CB51}"/>
          </ac:picMkLst>
        </pc:picChg>
        <pc:picChg chg="mod">
          <ac:chgData name="Andreas Weiss" userId="86f45389-4ad9-4ce5-aa22-b4e8edefafef" providerId="ADAL" clId="{BF97026B-F088-444A-89FB-4AB1CE25C7E5}" dt="2021-08-31T11:46:59.005" v="511"/>
          <ac:picMkLst>
            <pc:docMk/>
            <pc:sldMk cId="277429062" sldId="462"/>
            <ac:picMk id="239" creationId="{90F05BC0-BC95-423F-98F0-F1A21DDC601C}"/>
          </ac:picMkLst>
        </pc:picChg>
        <pc:picChg chg="add mod">
          <ac:chgData name="Andreas Weiss" userId="86f45389-4ad9-4ce5-aa22-b4e8edefafef" providerId="ADAL" clId="{BF97026B-F088-444A-89FB-4AB1CE25C7E5}" dt="2021-08-31T12:17:15.150" v="945" actId="1035"/>
          <ac:picMkLst>
            <pc:docMk/>
            <pc:sldMk cId="277429062" sldId="462"/>
            <ac:picMk id="240" creationId="{5655DA77-FEFB-45DF-9E16-4BFAA2E38E26}"/>
          </ac:picMkLst>
        </pc:picChg>
        <pc:picChg chg="add mod">
          <ac:chgData name="Andreas Weiss" userId="86f45389-4ad9-4ce5-aa22-b4e8edefafef" providerId="ADAL" clId="{BF97026B-F088-444A-89FB-4AB1CE25C7E5}" dt="2021-08-31T12:17:19.524" v="947" actId="1076"/>
          <ac:picMkLst>
            <pc:docMk/>
            <pc:sldMk cId="277429062" sldId="462"/>
            <ac:picMk id="241" creationId="{F5FDC6ED-2D59-4CA5-B20B-3630D818338E}"/>
          </ac:picMkLst>
        </pc:picChg>
        <pc:picChg chg="add mod">
          <ac:chgData name="Andreas Weiss" userId="86f45389-4ad9-4ce5-aa22-b4e8edefafef" providerId="ADAL" clId="{BF97026B-F088-444A-89FB-4AB1CE25C7E5}" dt="2021-08-31T12:17:17.283" v="946" actId="14100"/>
          <ac:picMkLst>
            <pc:docMk/>
            <pc:sldMk cId="277429062" sldId="462"/>
            <ac:picMk id="242" creationId="{C6FFFA05-C39E-46C9-A90D-302275B7A3D8}"/>
          </ac:picMkLst>
        </pc:picChg>
        <pc:picChg chg="add mod">
          <ac:chgData name="Andreas Weiss" userId="86f45389-4ad9-4ce5-aa22-b4e8edefafef" providerId="ADAL" clId="{BF97026B-F088-444A-89FB-4AB1CE25C7E5}" dt="2021-08-31T12:13:33.477" v="872" actId="1076"/>
          <ac:picMkLst>
            <pc:docMk/>
            <pc:sldMk cId="277429062" sldId="462"/>
            <ac:picMk id="243" creationId="{4F058434-9E13-4EE7-A955-32F116A70043}"/>
          </ac:picMkLst>
        </pc:picChg>
        <pc:picChg chg="add mod">
          <ac:chgData name="Andreas Weiss" userId="86f45389-4ad9-4ce5-aa22-b4e8edefafef" providerId="ADAL" clId="{BF97026B-F088-444A-89FB-4AB1CE25C7E5}" dt="2021-08-31T12:17:03.562" v="925" actId="1037"/>
          <ac:picMkLst>
            <pc:docMk/>
            <pc:sldMk cId="277429062" sldId="462"/>
            <ac:picMk id="244" creationId="{87A9445E-147A-4FF8-B6E4-46B4FBD0A85F}"/>
          </ac:picMkLst>
        </pc:picChg>
        <pc:picChg chg="add mod">
          <ac:chgData name="Andreas Weiss" userId="86f45389-4ad9-4ce5-aa22-b4e8edefafef" providerId="ADAL" clId="{BF97026B-F088-444A-89FB-4AB1CE25C7E5}" dt="2021-08-31T12:13:38.451" v="874" actId="1076"/>
          <ac:picMkLst>
            <pc:docMk/>
            <pc:sldMk cId="277429062" sldId="462"/>
            <ac:picMk id="245" creationId="{1C4925AE-09B2-47D4-A5BF-B16559C039E3}"/>
          </ac:picMkLst>
        </pc:picChg>
        <pc:picChg chg="add mod">
          <ac:chgData name="Andreas Weiss" userId="86f45389-4ad9-4ce5-aa22-b4e8edefafef" providerId="ADAL" clId="{BF97026B-F088-444A-89FB-4AB1CE25C7E5}" dt="2021-08-31T12:24:35.097" v="1030" actId="1038"/>
          <ac:picMkLst>
            <pc:docMk/>
            <pc:sldMk cId="277429062" sldId="462"/>
            <ac:picMk id="246" creationId="{928F4804-A380-4662-AA7F-67A46154A9C3}"/>
          </ac:picMkLst>
        </pc:picChg>
        <pc:picChg chg="add mod">
          <ac:chgData name="Andreas Weiss" userId="86f45389-4ad9-4ce5-aa22-b4e8edefafef" providerId="ADAL" clId="{BF97026B-F088-444A-89FB-4AB1CE25C7E5}" dt="2021-08-31T12:15:08.419" v="898" actId="1076"/>
          <ac:picMkLst>
            <pc:docMk/>
            <pc:sldMk cId="277429062" sldId="462"/>
            <ac:picMk id="247" creationId="{7F4D91AB-640B-43FA-BA0B-B158832B7DB4}"/>
          </ac:picMkLst>
        </pc:picChg>
        <pc:picChg chg="add mod">
          <ac:chgData name="Andreas Weiss" userId="86f45389-4ad9-4ce5-aa22-b4e8edefafef" providerId="ADAL" clId="{BF97026B-F088-444A-89FB-4AB1CE25C7E5}" dt="2021-08-31T12:15:15.556" v="900" actId="1076"/>
          <ac:picMkLst>
            <pc:docMk/>
            <pc:sldMk cId="277429062" sldId="462"/>
            <ac:picMk id="248" creationId="{64297AD2-7221-4E92-A37B-83143878A9D6}"/>
          </ac:picMkLst>
        </pc:picChg>
        <pc:picChg chg="add mod">
          <ac:chgData name="Andreas Weiss" userId="86f45389-4ad9-4ce5-aa22-b4e8edefafef" providerId="ADAL" clId="{BF97026B-F088-444A-89FB-4AB1CE25C7E5}" dt="2021-08-31T12:23:07.431" v="1008" actId="1038"/>
          <ac:picMkLst>
            <pc:docMk/>
            <pc:sldMk cId="277429062" sldId="462"/>
            <ac:picMk id="249" creationId="{868FABA1-5786-42DA-80B9-1822E9773ECF}"/>
          </ac:picMkLst>
        </pc:picChg>
        <pc:picChg chg="mod">
          <ac:chgData name="Andreas Weiss" userId="86f45389-4ad9-4ce5-aa22-b4e8edefafef" providerId="ADAL" clId="{BF97026B-F088-444A-89FB-4AB1CE25C7E5}" dt="2021-08-31T12:17:33.132" v="952"/>
          <ac:picMkLst>
            <pc:docMk/>
            <pc:sldMk cId="277429062" sldId="462"/>
            <ac:picMk id="252" creationId="{B81289ED-D443-44F1-BFFC-8F166802EE0B}"/>
          </ac:picMkLst>
        </pc:picChg>
        <pc:picChg chg="mod">
          <ac:chgData name="Andreas Weiss" userId="86f45389-4ad9-4ce5-aa22-b4e8edefafef" providerId="ADAL" clId="{BF97026B-F088-444A-89FB-4AB1CE25C7E5}" dt="2021-08-31T12:17:33.132" v="952"/>
          <ac:picMkLst>
            <pc:docMk/>
            <pc:sldMk cId="277429062" sldId="462"/>
            <ac:picMk id="253" creationId="{581B46A5-6CA5-4E37-A6BA-F534266D6F9E}"/>
          </ac:picMkLst>
        </pc:picChg>
        <pc:picChg chg="mod">
          <ac:chgData name="Andreas Weiss" userId="86f45389-4ad9-4ce5-aa22-b4e8edefafef" providerId="ADAL" clId="{BF97026B-F088-444A-89FB-4AB1CE25C7E5}" dt="2021-08-31T12:17:33.132" v="952"/>
          <ac:picMkLst>
            <pc:docMk/>
            <pc:sldMk cId="277429062" sldId="462"/>
            <ac:picMk id="254" creationId="{DF3EEE73-13FA-4186-AD6E-85282B5F92AC}"/>
          </ac:picMkLst>
        </pc:picChg>
        <pc:picChg chg="mod">
          <ac:chgData name="Andreas Weiss" userId="86f45389-4ad9-4ce5-aa22-b4e8edefafef" providerId="ADAL" clId="{BF97026B-F088-444A-89FB-4AB1CE25C7E5}" dt="2021-08-31T12:17:33.132" v="952"/>
          <ac:picMkLst>
            <pc:docMk/>
            <pc:sldMk cId="277429062" sldId="462"/>
            <ac:picMk id="255" creationId="{FDC719A1-E51D-4DA3-90CC-A3AB8E6B84DB}"/>
          </ac:picMkLst>
        </pc:picChg>
        <pc:picChg chg="mod">
          <ac:chgData name="Andreas Weiss" userId="86f45389-4ad9-4ce5-aa22-b4e8edefafef" providerId="ADAL" clId="{BF97026B-F088-444A-89FB-4AB1CE25C7E5}" dt="2021-08-31T12:23:12.717" v="1013" actId="1038"/>
          <ac:picMkLst>
            <pc:docMk/>
            <pc:sldMk cId="277429062" sldId="462"/>
            <ac:picMk id="256" creationId="{2CE38EEF-6917-4647-9193-E023455AD46A}"/>
          </ac:picMkLst>
        </pc:picChg>
        <pc:picChg chg="add mod">
          <ac:chgData name="Andreas Weiss" userId="86f45389-4ad9-4ce5-aa22-b4e8edefafef" providerId="ADAL" clId="{BF97026B-F088-444A-89FB-4AB1CE25C7E5}" dt="2021-08-31T12:17:56.964" v="955" actId="1076"/>
          <ac:picMkLst>
            <pc:docMk/>
            <pc:sldMk cId="277429062" sldId="462"/>
            <ac:picMk id="257" creationId="{2F9E5317-D749-473D-BF2E-8F4F38D2D827}"/>
          </ac:picMkLst>
        </pc:picChg>
        <pc:picChg chg="add mod">
          <ac:chgData name="Andreas Weiss" userId="86f45389-4ad9-4ce5-aa22-b4e8edefafef" providerId="ADAL" clId="{BF97026B-F088-444A-89FB-4AB1CE25C7E5}" dt="2021-08-31T12:36:32.496" v="1033"/>
          <ac:picMkLst>
            <pc:docMk/>
            <pc:sldMk cId="277429062" sldId="462"/>
            <ac:picMk id="348" creationId="{F299BA45-42C3-4F65-A56D-D9BFDB59256F}"/>
          </ac:picMkLst>
        </pc:picChg>
        <pc:cxnChg chg="mod">
          <ac:chgData name="Andreas Weiss" userId="86f45389-4ad9-4ce5-aa22-b4e8edefafef" providerId="ADAL" clId="{BF97026B-F088-444A-89FB-4AB1CE25C7E5}" dt="2021-08-31T11:32:29.558" v="137" actId="165"/>
          <ac:cxnSpMkLst>
            <pc:docMk/>
            <pc:sldMk cId="277429062" sldId="462"/>
            <ac:cxnSpMk id="22" creationId="{8B34AC26-F099-4B0B-8956-BE07C8A99EE7}"/>
          </ac:cxnSpMkLst>
        </pc:cxnChg>
        <pc:cxnChg chg="mod">
          <ac:chgData name="Andreas Weiss" userId="86f45389-4ad9-4ce5-aa22-b4e8edefafef" providerId="ADAL" clId="{BF97026B-F088-444A-89FB-4AB1CE25C7E5}" dt="2021-08-31T11:32:29.558" v="137" actId="165"/>
          <ac:cxnSpMkLst>
            <pc:docMk/>
            <pc:sldMk cId="277429062" sldId="462"/>
            <ac:cxnSpMk id="23" creationId="{B5CD7310-CED7-4B3D-8712-596E464B24EB}"/>
          </ac:cxnSpMkLst>
        </pc:cxnChg>
        <pc:cxnChg chg="mod">
          <ac:chgData name="Andreas Weiss" userId="86f45389-4ad9-4ce5-aa22-b4e8edefafef" providerId="ADAL" clId="{BF97026B-F088-444A-89FB-4AB1CE25C7E5}" dt="2021-08-31T11:32:29.558" v="137" actId="165"/>
          <ac:cxnSpMkLst>
            <pc:docMk/>
            <pc:sldMk cId="277429062" sldId="462"/>
            <ac:cxnSpMk id="24" creationId="{D3422F68-DD9D-4FED-8AAF-07D87282C394}"/>
          </ac:cxnSpMkLst>
        </pc:cxnChg>
        <pc:cxnChg chg="mod">
          <ac:chgData name="Andreas Weiss" userId="86f45389-4ad9-4ce5-aa22-b4e8edefafef" providerId="ADAL" clId="{BF97026B-F088-444A-89FB-4AB1CE25C7E5}" dt="2021-08-31T11:32:29.558" v="137" actId="165"/>
          <ac:cxnSpMkLst>
            <pc:docMk/>
            <pc:sldMk cId="277429062" sldId="462"/>
            <ac:cxnSpMk id="25" creationId="{3786F46B-544E-428B-8B95-A9B8DCA0C1DC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50" creationId="{4622404A-4A57-4FBA-8733-3C9F2405BAAE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52" creationId="{7814EFC2-3AF0-4E18-A234-F4AA32A61296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63" creationId="{47B91183-C1C5-4FCE-9699-6316185BE567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64" creationId="{DFD2EB86-5685-41DC-88FD-481E6B56BE7C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65" creationId="{08166E1C-CF21-456B-90D0-CE8D6AB6259C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74" creationId="{38DFA5DC-51FF-4BBE-BB41-FB7E2F003B8A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75" creationId="{0F06BDD3-C950-4753-82D1-C58507A4872B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76" creationId="{45E4AAC2-DD67-44CA-9549-F9306650C385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77" creationId="{828763C0-C092-44DA-8F84-0D1DD6AA8372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78" creationId="{AD77D019-565A-48D7-B448-538BDB225D2E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79" creationId="{2EF2A190-F26E-4FF1-93B6-1AA08C420F90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80" creationId="{2205B942-6142-4297-B0ED-1D2BC5A3C164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81" creationId="{27009E28-A79F-42C3-9A34-DB74A6B9AA87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82" creationId="{ABD3EF29-B030-4291-9495-76E5C56A9A04}"/>
          </ac:cxnSpMkLst>
        </pc:cxnChg>
        <pc:cxnChg chg="mod">
          <ac:chgData name="Andreas Weiss" userId="86f45389-4ad9-4ce5-aa22-b4e8edefafef" providerId="ADAL" clId="{BF97026B-F088-444A-89FB-4AB1CE25C7E5}" dt="2021-08-31T11:23:01.990" v="38" actId="1076"/>
          <ac:cxnSpMkLst>
            <pc:docMk/>
            <pc:sldMk cId="277429062" sldId="462"/>
            <ac:cxnSpMk id="84" creationId="{B390D15D-C404-4248-9705-D36A3BAD9BB9}"/>
          </ac:cxnSpMkLst>
        </pc:cxnChg>
        <pc:cxnChg chg="mod">
          <ac:chgData name="Andreas Weiss" userId="86f45389-4ad9-4ce5-aa22-b4e8edefafef" providerId="ADAL" clId="{BF97026B-F088-444A-89FB-4AB1CE25C7E5}" dt="2021-08-31T11:23:01.990" v="38" actId="1076"/>
          <ac:cxnSpMkLst>
            <pc:docMk/>
            <pc:sldMk cId="277429062" sldId="462"/>
            <ac:cxnSpMk id="85" creationId="{5554926F-47E4-4257-BE8B-48F33EF0F370}"/>
          </ac:cxnSpMkLst>
        </pc:cxnChg>
        <pc:cxnChg chg="mod">
          <ac:chgData name="Andreas Weiss" userId="86f45389-4ad9-4ce5-aa22-b4e8edefafef" providerId="ADAL" clId="{BF97026B-F088-444A-89FB-4AB1CE25C7E5}" dt="2021-08-31T11:23:01.990" v="38" actId="1076"/>
          <ac:cxnSpMkLst>
            <pc:docMk/>
            <pc:sldMk cId="277429062" sldId="462"/>
            <ac:cxnSpMk id="86" creationId="{372CDE04-D6E0-4F1A-9987-7BBDBF0F6770}"/>
          </ac:cxnSpMkLst>
        </pc:cxnChg>
        <pc:cxnChg chg="mod">
          <ac:chgData name="Andreas Weiss" userId="86f45389-4ad9-4ce5-aa22-b4e8edefafef" providerId="ADAL" clId="{BF97026B-F088-444A-89FB-4AB1CE25C7E5}" dt="2021-08-31T11:23:01.990" v="38" actId="1076"/>
          <ac:cxnSpMkLst>
            <pc:docMk/>
            <pc:sldMk cId="277429062" sldId="462"/>
            <ac:cxnSpMk id="105" creationId="{2CA3A2E1-1440-4EA5-96CF-27F7FE7FC7C8}"/>
          </ac:cxnSpMkLst>
        </pc:cxnChg>
        <pc:cxnChg chg="mod">
          <ac:chgData name="Andreas Weiss" userId="86f45389-4ad9-4ce5-aa22-b4e8edefafef" providerId="ADAL" clId="{BF97026B-F088-444A-89FB-4AB1CE25C7E5}" dt="2021-08-31T11:23:01.990" v="38" actId="1076"/>
          <ac:cxnSpMkLst>
            <pc:docMk/>
            <pc:sldMk cId="277429062" sldId="462"/>
            <ac:cxnSpMk id="106" creationId="{2E766233-2C43-4C1A-A86D-91398A4D97F4}"/>
          </ac:cxnSpMkLst>
        </pc:cxnChg>
        <pc:cxnChg chg="mod">
          <ac:chgData name="Andreas Weiss" userId="86f45389-4ad9-4ce5-aa22-b4e8edefafef" providerId="ADAL" clId="{BF97026B-F088-444A-89FB-4AB1CE25C7E5}" dt="2021-08-31T11:23:01.990" v="38" actId="1076"/>
          <ac:cxnSpMkLst>
            <pc:docMk/>
            <pc:sldMk cId="277429062" sldId="462"/>
            <ac:cxnSpMk id="107" creationId="{E3CA3270-F0DE-4C48-B187-D280B4FA547A}"/>
          </ac:cxnSpMkLst>
        </pc:cxnChg>
        <pc:cxnChg chg="mod">
          <ac:chgData name="Andreas Weiss" userId="86f45389-4ad9-4ce5-aa22-b4e8edefafef" providerId="ADAL" clId="{BF97026B-F088-444A-89FB-4AB1CE25C7E5}" dt="2021-08-31T11:23:01.990" v="38" actId="1076"/>
          <ac:cxnSpMkLst>
            <pc:docMk/>
            <pc:sldMk cId="277429062" sldId="462"/>
            <ac:cxnSpMk id="108" creationId="{DAF6C8DA-B06A-4D45-91B3-5A98B14A0DCE}"/>
          </ac:cxnSpMkLst>
        </pc:cxnChg>
        <pc:cxnChg chg="mod">
          <ac:chgData name="Andreas Weiss" userId="86f45389-4ad9-4ce5-aa22-b4e8edefafef" providerId="ADAL" clId="{BF97026B-F088-444A-89FB-4AB1CE25C7E5}" dt="2021-08-31T11:23:01.990" v="38" actId="1076"/>
          <ac:cxnSpMkLst>
            <pc:docMk/>
            <pc:sldMk cId="277429062" sldId="462"/>
            <ac:cxnSpMk id="109" creationId="{51FDAEFA-0A04-4FE9-9B3F-0465B1696B0E}"/>
          </ac:cxnSpMkLst>
        </pc:cxnChg>
        <pc:cxnChg chg="mod">
          <ac:chgData name="Andreas Weiss" userId="86f45389-4ad9-4ce5-aa22-b4e8edefafef" providerId="ADAL" clId="{BF97026B-F088-444A-89FB-4AB1CE25C7E5}" dt="2021-08-31T11:23:01.990" v="38" actId="1076"/>
          <ac:cxnSpMkLst>
            <pc:docMk/>
            <pc:sldMk cId="277429062" sldId="462"/>
            <ac:cxnSpMk id="110" creationId="{A34FFF08-2EAB-4E6F-BA7D-AD84866DAEC7}"/>
          </ac:cxnSpMkLst>
        </pc:cxnChg>
        <pc:cxnChg chg="mod">
          <ac:chgData name="Andreas Weiss" userId="86f45389-4ad9-4ce5-aa22-b4e8edefafef" providerId="ADAL" clId="{BF97026B-F088-444A-89FB-4AB1CE25C7E5}" dt="2021-08-31T11:23:01.990" v="38" actId="1076"/>
          <ac:cxnSpMkLst>
            <pc:docMk/>
            <pc:sldMk cId="277429062" sldId="462"/>
            <ac:cxnSpMk id="111" creationId="{CE0ABF47-DFCB-4E43-8C02-83A856E4EDB0}"/>
          </ac:cxnSpMkLst>
        </pc:cxnChg>
        <pc:cxnChg chg="mod">
          <ac:chgData name="Andreas Weiss" userId="86f45389-4ad9-4ce5-aa22-b4e8edefafef" providerId="ADAL" clId="{BF97026B-F088-444A-89FB-4AB1CE25C7E5}" dt="2021-08-31T11:23:01.990" v="38" actId="1076"/>
          <ac:cxnSpMkLst>
            <pc:docMk/>
            <pc:sldMk cId="277429062" sldId="462"/>
            <ac:cxnSpMk id="112" creationId="{6FE9402F-EA5B-47D7-895D-5B2F6D8A913A}"/>
          </ac:cxnSpMkLst>
        </pc:cxnChg>
        <pc:cxnChg chg="mod">
          <ac:chgData name="Andreas Weiss" userId="86f45389-4ad9-4ce5-aa22-b4e8edefafef" providerId="ADAL" clId="{BF97026B-F088-444A-89FB-4AB1CE25C7E5}" dt="2021-08-31T11:23:01.990" v="38" actId="1076"/>
          <ac:cxnSpMkLst>
            <pc:docMk/>
            <pc:sldMk cId="277429062" sldId="462"/>
            <ac:cxnSpMk id="113" creationId="{EE6955FD-E9DC-4F4F-89F2-C3E635040BD7}"/>
          </ac:cxnSpMkLst>
        </pc:cxnChg>
        <pc:cxnChg chg="mod">
          <ac:chgData name="Andreas Weiss" userId="86f45389-4ad9-4ce5-aa22-b4e8edefafef" providerId="ADAL" clId="{BF97026B-F088-444A-89FB-4AB1CE25C7E5}" dt="2021-08-31T11:23:01.990" v="38" actId="1076"/>
          <ac:cxnSpMkLst>
            <pc:docMk/>
            <pc:sldMk cId="277429062" sldId="462"/>
            <ac:cxnSpMk id="114" creationId="{960758F2-E54C-4FCC-B7E2-6FE4D7C8BF34}"/>
          </ac:cxnSpMkLst>
        </pc:cxnChg>
        <pc:cxnChg chg="mod">
          <ac:chgData name="Andreas Weiss" userId="86f45389-4ad9-4ce5-aa22-b4e8edefafef" providerId="ADAL" clId="{BF97026B-F088-444A-89FB-4AB1CE25C7E5}" dt="2021-08-31T11:23:01.990" v="38" actId="1076"/>
          <ac:cxnSpMkLst>
            <pc:docMk/>
            <pc:sldMk cId="277429062" sldId="462"/>
            <ac:cxnSpMk id="115" creationId="{1DC8AF2C-4324-4AC2-9907-5A9741F7B341}"/>
          </ac:cxnSpMkLst>
        </pc:cxnChg>
        <pc:cxnChg chg="mod">
          <ac:chgData name="Andreas Weiss" userId="86f45389-4ad9-4ce5-aa22-b4e8edefafef" providerId="ADAL" clId="{BF97026B-F088-444A-89FB-4AB1CE25C7E5}" dt="2021-08-31T11:23:01.990" v="38" actId="1076"/>
          <ac:cxnSpMkLst>
            <pc:docMk/>
            <pc:sldMk cId="277429062" sldId="462"/>
            <ac:cxnSpMk id="116" creationId="{86052712-E50C-41C2-A642-7F72E46401BF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117" creationId="{7442A4AA-D62E-4B49-9805-2E9F536DBE1A}"/>
          </ac:cxnSpMkLst>
        </pc:cxnChg>
        <pc:cxnChg chg="mod">
          <ac:chgData name="Andreas Weiss" userId="86f45389-4ad9-4ce5-aa22-b4e8edefafef" providerId="ADAL" clId="{BF97026B-F088-444A-89FB-4AB1CE25C7E5}" dt="2021-08-31T11:23:01.990" v="38" actId="1076"/>
          <ac:cxnSpMkLst>
            <pc:docMk/>
            <pc:sldMk cId="277429062" sldId="462"/>
            <ac:cxnSpMk id="119" creationId="{E9C62471-70A7-4D0E-B464-3BE027F2AD78}"/>
          </ac:cxnSpMkLst>
        </pc:cxnChg>
        <pc:cxnChg chg="del mod">
          <ac:chgData name="Andreas Weiss" userId="86f45389-4ad9-4ce5-aa22-b4e8edefafef" providerId="ADAL" clId="{BF97026B-F088-444A-89FB-4AB1CE25C7E5}" dt="2021-08-31T11:23:16.171" v="40" actId="478"/>
          <ac:cxnSpMkLst>
            <pc:docMk/>
            <pc:sldMk cId="277429062" sldId="462"/>
            <ac:cxnSpMk id="122" creationId="{77D95249-6802-457A-B9E6-B4F02CCF7749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128" creationId="{2D27C93E-F4F4-43A7-AA1D-BEFCD9DBEC1F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141" creationId="{2C7643DE-09F1-41A8-BCF2-442EF7BCE3F2}"/>
          </ac:cxnSpMkLst>
        </pc:cxnChg>
        <pc:cxnChg chg="add del mod">
          <ac:chgData name="Andreas Weiss" userId="86f45389-4ad9-4ce5-aa22-b4e8edefafef" providerId="ADAL" clId="{BF97026B-F088-444A-89FB-4AB1CE25C7E5}" dt="2021-08-31T11:23:14.383" v="39" actId="478"/>
          <ac:cxnSpMkLst>
            <pc:docMk/>
            <pc:sldMk cId="277429062" sldId="462"/>
            <ac:cxnSpMk id="142" creationId="{199FBB3B-EE8B-4EE0-BE71-A28F05225F0C}"/>
          </ac:cxnSpMkLst>
        </pc:cxnChg>
        <pc:cxnChg chg="add del mod">
          <ac:chgData name="Andreas Weiss" userId="86f45389-4ad9-4ce5-aa22-b4e8edefafef" providerId="ADAL" clId="{BF97026B-F088-444A-89FB-4AB1CE25C7E5}" dt="2021-08-31T11:29:17.224" v="87" actId="478"/>
          <ac:cxnSpMkLst>
            <pc:docMk/>
            <pc:sldMk cId="277429062" sldId="462"/>
            <ac:cxnSpMk id="143" creationId="{ECC8DCC0-4746-4BFD-9A76-9127ACBC994F}"/>
          </ac:cxnSpMkLst>
        </pc:cxnChg>
        <pc:cxnChg chg="mod">
          <ac:chgData name="Andreas Weiss" userId="86f45389-4ad9-4ce5-aa22-b4e8edefafef" providerId="ADAL" clId="{BF97026B-F088-444A-89FB-4AB1CE25C7E5}" dt="2021-08-31T11:39:21.315" v="386" actId="478"/>
          <ac:cxnSpMkLst>
            <pc:docMk/>
            <pc:sldMk cId="277429062" sldId="462"/>
            <ac:cxnSpMk id="156" creationId="{75467AE7-E2FB-44C9-AF66-AD12A77CCD2D}"/>
          </ac:cxnSpMkLst>
        </pc:cxnChg>
        <pc:cxnChg chg="del mod">
          <ac:chgData name="Andreas Weiss" userId="86f45389-4ad9-4ce5-aa22-b4e8edefafef" providerId="ADAL" clId="{BF97026B-F088-444A-89FB-4AB1CE25C7E5}" dt="2021-08-31T11:37:33.221" v="368" actId="478"/>
          <ac:cxnSpMkLst>
            <pc:docMk/>
            <pc:sldMk cId="277429062" sldId="462"/>
            <ac:cxnSpMk id="157" creationId="{3839AC64-D456-48A7-B9C6-60696FF4A781}"/>
          </ac:cxnSpMkLst>
        </pc:cxnChg>
        <pc:cxnChg chg="del mod">
          <ac:chgData name="Andreas Weiss" userId="86f45389-4ad9-4ce5-aa22-b4e8edefafef" providerId="ADAL" clId="{BF97026B-F088-444A-89FB-4AB1CE25C7E5}" dt="2021-08-31T11:37:25.435" v="367" actId="478"/>
          <ac:cxnSpMkLst>
            <pc:docMk/>
            <pc:sldMk cId="277429062" sldId="462"/>
            <ac:cxnSpMk id="158" creationId="{5061A99B-48C1-4800-9ED9-FF91A4D60B27}"/>
          </ac:cxnSpMkLst>
        </pc:cxnChg>
        <pc:cxnChg chg="mod">
          <ac:chgData name="Andreas Weiss" userId="86f45389-4ad9-4ce5-aa22-b4e8edefafef" providerId="ADAL" clId="{BF97026B-F088-444A-89FB-4AB1CE25C7E5}" dt="2021-08-31T11:37:10.076" v="363"/>
          <ac:cxnSpMkLst>
            <pc:docMk/>
            <pc:sldMk cId="277429062" sldId="462"/>
            <ac:cxnSpMk id="159" creationId="{B30A1B7E-BD5E-480A-864D-E1CFC85F812F}"/>
          </ac:cxnSpMkLst>
        </pc:cxnChg>
        <pc:cxnChg chg="mod">
          <ac:chgData name="Andreas Weiss" userId="86f45389-4ad9-4ce5-aa22-b4e8edefafef" providerId="ADAL" clId="{BF97026B-F088-444A-89FB-4AB1CE25C7E5}" dt="2021-08-31T11:37:10.076" v="363"/>
          <ac:cxnSpMkLst>
            <pc:docMk/>
            <pc:sldMk cId="277429062" sldId="462"/>
            <ac:cxnSpMk id="160" creationId="{3820F9A5-F69D-4AAC-80E9-3F6534052871}"/>
          </ac:cxnSpMkLst>
        </pc:cxnChg>
        <pc:cxnChg chg="mod">
          <ac:chgData name="Andreas Weiss" userId="86f45389-4ad9-4ce5-aa22-b4e8edefafef" providerId="ADAL" clId="{BF97026B-F088-444A-89FB-4AB1CE25C7E5}" dt="2021-08-31T11:37:10.076" v="363"/>
          <ac:cxnSpMkLst>
            <pc:docMk/>
            <pc:sldMk cId="277429062" sldId="462"/>
            <ac:cxnSpMk id="161" creationId="{EFB3A606-9F7F-4164-9EAB-4FFC5A305399}"/>
          </ac:cxnSpMkLst>
        </pc:cxnChg>
        <pc:cxnChg chg="mod">
          <ac:chgData name="Andreas Weiss" userId="86f45389-4ad9-4ce5-aa22-b4e8edefafef" providerId="ADAL" clId="{BF97026B-F088-444A-89FB-4AB1CE25C7E5}" dt="2021-08-31T11:37:10.076" v="363"/>
          <ac:cxnSpMkLst>
            <pc:docMk/>
            <pc:sldMk cId="277429062" sldId="462"/>
            <ac:cxnSpMk id="162" creationId="{5E64CD1A-FB28-48F3-AEC4-768AB0821F3A}"/>
          </ac:cxnSpMkLst>
        </pc:cxnChg>
        <pc:cxnChg chg="mod">
          <ac:chgData name="Andreas Weiss" userId="86f45389-4ad9-4ce5-aa22-b4e8edefafef" providerId="ADAL" clId="{BF97026B-F088-444A-89FB-4AB1CE25C7E5}" dt="2021-08-31T11:37:10.076" v="363"/>
          <ac:cxnSpMkLst>
            <pc:docMk/>
            <pc:sldMk cId="277429062" sldId="462"/>
            <ac:cxnSpMk id="163" creationId="{87A8F069-13EE-49EA-8011-8C55F959D401}"/>
          </ac:cxnSpMkLst>
        </pc:cxnChg>
        <pc:cxnChg chg="mod">
          <ac:chgData name="Andreas Weiss" userId="86f45389-4ad9-4ce5-aa22-b4e8edefafef" providerId="ADAL" clId="{BF97026B-F088-444A-89FB-4AB1CE25C7E5}" dt="2021-08-31T11:37:10.076" v="363"/>
          <ac:cxnSpMkLst>
            <pc:docMk/>
            <pc:sldMk cId="277429062" sldId="462"/>
            <ac:cxnSpMk id="164" creationId="{F053D45F-1609-4055-BEB0-3EA33C513081}"/>
          </ac:cxnSpMkLst>
        </pc:cxnChg>
        <pc:cxnChg chg="mod">
          <ac:chgData name="Andreas Weiss" userId="86f45389-4ad9-4ce5-aa22-b4e8edefafef" providerId="ADAL" clId="{BF97026B-F088-444A-89FB-4AB1CE25C7E5}" dt="2021-08-31T11:37:10.076" v="363"/>
          <ac:cxnSpMkLst>
            <pc:docMk/>
            <pc:sldMk cId="277429062" sldId="462"/>
            <ac:cxnSpMk id="165" creationId="{BB50BED3-1C87-488D-A260-8A1145E4FE2D}"/>
          </ac:cxnSpMkLst>
        </pc:cxnChg>
        <pc:cxnChg chg="del mod">
          <ac:chgData name="Andreas Weiss" userId="86f45389-4ad9-4ce5-aa22-b4e8edefafef" providerId="ADAL" clId="{BF97026B-F088-444A-89FB-4AB1CE25C7E5}" dt="2021-08-31T11:37:33.221" v="368" actId="478"/>
          <ac:cxnSpMkLst>
            <pc:docMk/>
            <pc:sldMk cId="277429062" sldId="462"/>
            <ac:cxnSpMk id="166" creationId="{C56CC636-E75C-433D-8D75-E5BF4F9AEC64}"/>
          </ac:cxnSpMkLst>
        </pc:cxnChg>
        <pc:cxnChg chg="del mod">
          <ac:chgData name="Andreas Weiss" userId="86f45389-4ad9-4ce5-aa22-b4e8edefafef" providerId="ADAL" clId="{BF97026B-F088-444A-89FB-4AB1CE25C7E5}" dt="2021-08-31T11:37:33.221" v="368" actId="478"/>
          <ac:cxnSpMkLst>
            <pc:docMk/>
            <pc:sldMk cId="277429062" sldId="462"/>
            <ac:cxnSpMk id="167" creationId="{7BBAA124-9C11-499E-8618-A079FE1ADA1C}"/>
          </ac:cxnSpMkLst>
        </pc:cxnChg>
        <pc:cxnChg chg="del mod">
          <ac:chgData name="Andreas Weiss" userId="86f45389-4ad9-4ce5-aa22-b4e8edefafef" providerId="ADAL" clId="{BF97026B-F088-444A-89FB-4AB1CE25C7E5}" dt="2021-08-31T11:37:33.221" v="368" actId="478"/>
          <ac:cxnSpMkLst>
            <pc:docMk/>
            <pc:sldMk cId="277429062" sldId="462"/>
            <ac:cxnSpMk id="168" creationId="{D799CDC8-B1B0-44A8-942B-4B60C726CEDB}"/>
          </ac:cxnSpMkLst>
        </pc:cxnChg>
        <pc:cxnChg chg="del mod">
          <ac:chgData name="Andreas Weiss" userId="86f45389-4ad9-4ce5-aa22-b4e8edefafef" providerId="ADAL" clId="{BF97026B-F088-444A-89FB-4AB1CE25C7E5}" dt="2021-08-31T11:37:33.221" v="368" actId="478"/>
          <ac:cxnSpMkLst>
            <pc:docMk/>
            <pc:sldMk cId="277429062" sldId="462"/>
            <ac:cxnSpMk id="169" creationId="{E288002A-9133-44E7-95A8-9A0C05FD11B9}"/>
          </ac:cxnSpMkLst>
        </pc:cxnChg>
        <pc:cxnChg chg="mod">
          <ac:chgData name="Andreas Weiss" userId="86f45389-4ad9-4ce5-aa22-b4e8edefafef" providerId="ADAL" clId="{BF97026B-F088-444A-89FB-4AB1CE25C7E5}" dt="2021-08-31T11:38:09.773" v="373"/>
          <ac:cxnSpMkLst>
            <pc:docMk/>
            <pc:sldMk cId="277429062" sldId="462"/>
            <ac:cxnSpMk id="173" creationId="{FEBF107C-EF5F-471B-9A8C-D64A014A9E2D}"/>
          </ac:cxnSpMkLst>
        </pc:cxnChg>
        <pc:cxnChg chg="mod">
          <ac:chgData name="Andreas Weiss" userId="86f45389-4ad9-4ce5-aa22-b4e8edefafef" providerId="ADAL" clId="{BF97026B-F088-444A-89FB-4AB1CE25C7E5}" dt="2021-08-31T11:39:15.802" v="384" actId="14100"/>
          <ac:cxnSpMkLst>
            <pc:docMk/>
            <pc:sldMk cId="277429062" sldId="462"/>
            <ac:cxnSpMk id="174" creationId="{8273F29F-48E1-4744-A366-B2936C370FD6}"/>
          </ac:cxnSpMkLst>
        </pc:cxnChg>
        <pc:cxnChg chg="mod">
          <ac:chgData name="Andreas Weiss" userId="86f45389-4ad9-4ce5-aa22-b4e8edefafef" providerId="ADAL" clId="{BF97026B-F088-444A-89FB-4AB1CE25C7E5}" dt="2021-08-31T11:39:15.802" v="384" actId="14100"/>
          <ac:cxnSpMkLst>
            <pc:docMk/>
            <pc:sldMk cId="277429062" sldId="462"/>
            <ac:cxnSpMk id="175" creationId="{5CEB97D9-828F-4391-BC1F-ECC0D0C3F9CC}"/>
          </ac:cxnSpMkLst>
        </pc:cxnChg>
        <pc:cxnChg chg="del mod">
          <ac:chgData name="Andreas Weiss" userId="86f45389-4ad9-4ce5-aa22-b4e8edefafef" providerId="ADAL" clId="{BF97026B-F088-444A-89FB-4AB1CE25C7E5}" dt="2021-08-31T11:38:56.771" v="381" actId="478"/>
          <ac:cxnSpMkLst>
            <pc:docMk/>
            <pc:sldMk cId="277429062" sldId="462"/>
            <ac:cxnSpMk id="176" creationId="{19924799-FC92-4315-9DE3-F16CF9AA86DC}"/>
          </ac:cxnSpMkLst>
        </pc:cxnChg>
        <pc:cxnChg chg="del mod">
          <ac:chgData name="Andreas Weiss" userId="86f45389-4ad9-4ce5-aa22-b4e8edefafef" providerId="ADAL" clId="{BF97026B-F088-444A-89FB-4AB1CE25C7E5}" dt="2021-08-31T11:38:59.647" v="382" actId="478"/>
          <ac:cxnSpMkLst>
            <pc:docMk/>
            <pc:sldMk cId="277429062" sldId="462"/>
            <ac:cxnSpMk id="177" creationId="{65D099FC-4CE7-4C3C-8FD4-B9F0AD2E3C72}"/>
          </ac:cxnSpMkLst>
        </pc:cxnChg>
        <pc:cxnChg chg="mod">
          <ac:chgData name="Andreas Weiss" userId="86f45389-4ad9-4ce5-aa22-b4e8edefafef" providerId="ADAL" clId="{BF97026B-F088-444A-89FB-4AB1CE25C7E5}" dt="2021-08-31T11:39:15.802" v="384" actId="14100"/>
          <ac:cxnSpMkLst>
            <pc:docMk/>
            <pc:sldMk cId="277429062" sldId="462"/>
            <ac:cxnSpMk id="178" creationId="{CEE09BB0-64B4-444F-AB0C-2E095573CA71}"/>
          </ac:cxnSpMkLst>
        </pc:cxnChg>
        <pc:cxnChg chg="mod">
          <ac:chgData name="Andreas Weiss" userId="86f45389-4ad9-4ce5-aa22-b4e8edefafef" providerId="ADAL" clId="{BF97026B-F088-444A-89FB-4AB1CE25C7E5}" dt="2021-08-31T11:40:11.364" v="400" actId="1035"/>
          <ac:cxnSpMkLst>
            <pc:docMk/>
            <pc:sldMk cId="277429062" sldId="462"/>
            <ac:cxnSpMk id="179" creationId="{6BB37EE2-90F7-4C89-BBA8-44C783DCFBC5}"/>
          </ac:cxnSpMkLst>
        </pc:cxnChg>
        <pc:cxnChg chg="del mod">
          <ac:chgData name="Andreas Weiss" userId="86f45389-4ad9-4ce5-aa22-b4e8edefafef" providerId="ADAL" clId="{BF97026B-F088-444A-89FB-4AB1CE25C7E5}" dt="2021-08-31T11:39:04.187" v="383" actId="478"/>
          <ac:cxnSpMkLst>
            <pc:docMk/>
            <pc:sldMk cId="277429062" sldId="462"/>
            <ac:cxnSpMk id="180" creationId="{7A7A5150-8F18-47BC-8702-AB3ADC1F5FC8}"/>
          </ac:cxnSpMkLst>
        </pc:cxnChg>
        <pc:cxnChg chg="mod">
          <ac:chgData name="Andreas Weiss" userId="86f45389-4ad9-4ce5-aa22-b4e8edefafef" providerId="ADAL" clId="{BF97026B-F088-444A-89FB-4AB1CE25C7E5}" dt="2021-08-31T11:39:19.360" v="385" actId="478"/>
          <ac:cxnSpMkLst>
            <pc:docMk/>
            <pc:sldMk cId="277429062" sldId="462"/>
            <ac:cxnSpMk id="184" creationId="{1DED8EB8-3DDD-4E7F-8CA1-DE5F4D33C915}"/>
          </ac:cxnSpMkLst>
        </pc:cxnChg>
        <pc:cxnChg chg="mod">
          <ac:chgData name="Andreas Weiss" userId="86f45389-4ad9-4ce5-aa22-b4e8edefafef" providerId="ADAL" clId="{BF97026B-F088-444A-89FB-4AB1CE25C7E5}" dt="2021-08-31T11:38:19.441" v="375"/>
          <ac:cxnSpMkLst>
            <pc:docMk/>
            <pc:sldMk cId="277429062" sldId="462"/>
            <ac:cxnSpMk id="185" creationId="{55626022-205A-448B-808B-FE44B1212821}"/>
          </ac:cxnSpMkLst>
        </pc:cxnChg>
        <pc:cxnChg chg="mod">
          <ac:chgData name="Andreas Weiss" userId="86f45389-4ad9-4ce5-aa22-b4e8edefafef" providerId="ADAL" clId="{BF97026B-F088-444A-89FB-4AB1CE25C7E5}" dt="2021-08-31T11:38:19.441" v="375"/>
          <ac:cxnSpMkLst>
            <pc:docMk/>
            <pc:sldMk cId="277429062" sldId="462"/>
            <ac:cxnSpMk id="186" creationId="{D771B877-8F59-46AD-8DEC-7745A4A63971}"/>
          </ac:cxnSpMkLst>
        </pc:cxnChg>
        <pc:cxnChg chg="mod">
          <ac:chgData name="Andreas Weiss" userId="86f45389-4ad9-4ce5-aa22-b4e8edefafef" providerId="ADAL" clId="{BF97026B-F088-444A-89FB-4AB1CE25C7E5}" dt="2021-08-31T11:38:19.441" v="375"/>
          <ac:cxnSpMkLst>
            <pc:docMk/>
            <pc:sldMk cId="277429062" sldId="462"/>
            <ac:cxnSpMk id="187" creationId="{B9BC190C-FDC9-4068-801A-A3C6F6EFA0E3}"/>
          </ac:cxnSpMkLst>
        </pc:cxnChg>
        <pc:cxnChg chg="mod">
          <ac:chgData name="Andreas Weiss" userId="86f45389-4ad9-4ce5-aa22-b4e8edefafef" providerId="ADAL" clId="{BF97026B-F088-444A-89FB-4AB1CE25C7E5}" dt="2021-08-31T11:38:19.441" v="375"/>
          <ac:cxnSpMkLst>
            <pc:docMk/>
            <pc:sldMk cId="277429062" sldId="462"/>
            <ac:cxnSpMk id="188" creationId="{EC6F41E9-E38E-4B12-B93D-05944268B4E3}"/>
          </ac:cxnSpMkLst>
        </pc:cxnChg>
        <pc:cxnChg chg="mod">
          <ac:chgData name="Andreas Weiss" userId="86f45389-4ad9-4ce5-aa22-b4e8edefafef" providerId="ADAL" clId="{BF97026B-F088-444A-89FB-4AB1CE25C7E5}" dt="2021-08-31T11:38:19.441" v="375"/>
          <ac:cxnSpMkLst>
            <pc:docMk/>
            <pc:sldMk cId="277429062" sldId="462"/>
            <ac:cxnSpMk id="189" creationId="{18EACEA5-2236-426F-B36F-8F82548A0309}"/>
          </ac:cxnSpMkLst>
        </pc:cxnChg>
        <pc:cxnChg chg="mod">
          <ac:chgData name="Andreas Weiss" userId="86f45389-4ad9-4ce5-aa22-b4e8edefafef" providerId="ADAL" clId="{BF97026B-F088-444A-89FB-4AB1CE25C7E5}" dt="2021-08-31T11:38:19.441" v="375"/>
          <ac:cxnSpMkLst>
            <pc:docMk/>
            <pc:sldMk cId="277429062" sldId="462"/>
            <ac:cxnSpMk id="190" creationId="{E142DA49-9088-42DF-8BA9-F9D3FA204EBB}"/>
          </ac:cxnSpMkLst>
        </pc:cxnChg>
        <pc:cxnChg chg="mod">
          <ac:chgData name="Andreas Weiss" userId="86f45389-4ad9-4ce5-aa22-b4e8edefafef" providerId="ADAL" clId="{BF97026B-F088-444A-89FB-4AB1CE25C7E5}" dt="2021-08-31T11:38:19.441" v="375"/>
          <ac:cxnSpMkLst>
            <pc:docMk/>
            <pc:sldMk cId="277429062" sldId="462"/>
            <ac:cxnSpMk id="191" creationId="{AC6229B9-59E4-4CA7-AE2B-7463A1C1CF58}"/>
          </ac:cxnSpMkLst>
        </pc:cxnChg>
        <pc:cxnChg chg="mod">
          <ac:chgData name="Andreas Weiss" userId="86f45389-4ad9-4ce5-aa22-b4e8edefafef" providerId="ADAL" clId="{BF97026B-F088-444A-89FB-4AB1CE25C7E5}" dt="2021-08-31T11:39:23.614" v="387"/>
          <ac:cxnSpMkLst>
            <pc:docMk/>
            <pc:sldMk cId="277429062" sldId="462"/>
            <ac:cxnSpMk id="197" creationId="{CDEBB25C-3C87-4944-B7A3-64DFEEED05F5}"/>
          </ac:cxnSpMkLst>
        </pc:cxnChg>
        <pc:cxnChg chg="mod">
          <ac:chgData name="Andreas Weiss" userId="86f45389-4ad9-4ce5-aa22-b4e8edefafef" providerId="ADAL" clId="{BF97026B-F088-444A-89FB-4AB1CE25C7E5}" dt="2021-08-31T11:39:23.614" v="387"/>
          <ac:cxnSpMkLst>
            <pc:docMk/>
            <pc:sldMk cId="277429062" sldId="462"/>
            <ac:cxnSpMk id="198" creationId="{F538F7C3-DF07-4835-A94F-44554E073543}"/>
          </ac:cxnSpMkLst>
        </pc:cxnChg>
        <pc:cxnChg chg="mod">
          <ac:chgData name="Andreas Weiss" userId="86f45389-4ad9-4ce5-aa22-b4e8edefafef" providerId="ADAL" clId="{BF97026B-F088-444A-89FB-4AB1CE25C7E5}" dt="2021-08-31T11:39:23.614" v="387"/>
          <ac:cxnSpMkLst>
            <pc:docMk/>
            <pc:sldMk cId="277429062" sldId="462"/>
            <ac:cxnSpMk id="199" creationId="{D30CB465-5D91-4749-B949-817DE35A33DA}"/>
          </ac:cxnSpMkLst>
        </pc:cxnChg>
        <pc:cxnChg chg="mod">
          <ac:chgData name="Andreas Weiss" userId="86f45389-4ad9-4ce5-aa22-b4e8edefafef" providerId="ADAL" clId="{BF97026B-F088-444A-89FB-4AB1CE25C7E5}" dt="2021-08-31T11:39:23.614" v="387"/>
          <ac:cxnSpMkLst>
            <pc:docMk/>
            <pc:sldMk cId="277429062" sldId="462"/>
            <ac:cxnSpMk id="200" creationId="{86D3CA37-9957-4A20-BCA1-FE46B3F98828}"/>
          </ac:cxnSpMkLst>
        </pc:cxnChg>
        <pc:cxnChg chg="mod">
          <ac:chgData name="Andreas Weiss" userId="86f45389-4ad9-4ce5-aa22-b4e8edefafef" providerId="ADAL" clId="{BF97026B-F088-444A-89FB-4AB1CE25C7E5}" dt="2021-08-31T11:40:08.366" v="398" actId="1035"/>
          <ac:cxnSpMkLst>
            <pc:docMk/>
            <pc:sldMk cId="277429062" sldId="462"/>
            <ac:cxnSpMk id="201" creationId="{215B0CD4-9BB8-4DC8-99DD-DA59F52D3035}"/>
          </ac:cxnSpMkLst>
        </pc:cxnChg>
        <pc:cxnChg chg="mod">
          <ac:chgData name="Andreas Weiss" userId="86f45389-4ad9-4ce5-aa22-b4e8edefafef" providerId="ADAL" clId="{BF97026B-F088-444A-89FB-4AB1CE25C7E5}" dt="2021-08-31T11:39:31.375" v="389"/>
          <ac:cxnSpMkLst>
            <pc:docMk/>
            <pc:sldMk cId="277429062" sldId="462"/>
            <ac:cxnSpMk id="205" creationId="{CA4FE614-81DC-43A0-9893-EBCAFC5C96BC}"/>
          </ac:cxnSpMkLst>
        </pc:cxnChg>
        <pc:cxnChg chg="mod">
          <ac:chgData name="Andreas Weiss" userId="86f45389-4ad9-4ce5-aa22-b4e8edefafef" providerId="ADAL" clId="{BF97026B-F088-444A-89FB-4AB1CE25C7E5}" dt="2021-08-31T11:39:31.375" v="389"/>
          <ac:cxnSpMkLst>
            <pc:docMk/>
            <pc:sldMk cId="277429062" sldId="462"/>
            <ac:cxnSpMk id="206" creationId="{93C688E1-849D-458C-830E-CB7F9C0308E0}"/>
          </ac:cxnSpMkLst>
        </pc:cxnChg>
        <pc:cxnChg chg="mod">
          <ac:chgData name="Andreas Weiss" userId="86f45389-4ad9-4ce5-aa22-b4e8edefafef" providerId="ADAL" clId="{BF97026B-F088-444A-89FB-4AB1CE25C7E5}" dt="2021-08-31T11:39:31.375" v="389"/>
          <ac:cxnSpMkLst>
            <pc:docMk/>
            <pc:sldMk cId="277429062" sldId="462"/>
            <ac:cxnSpMk id="207" creationId="{0C01A41D-36D2-4504-B7C4-3E76E3B4D962}"/>
          </ac:cxnSpMkLst>
        </pc:cxnChg>
        <pc:cxnChg chg="mod">
          <ac:chgData name="Andreas Weiss" userId="86f45389-4ad9-4ce5-aa22-b4e8edefafef" providerId="ADAL" clId="{BF97026B-F088-444A-89FB-4AB1CE25C7E5}" dt="2021-08-31T11:39:31.375" v="389"/>
          <ac:cxnSpMkLst>
            <pc:docMk/>
            <pc:sldMk cId="277429062" sldId="462"/>
            <ac:cxnSpMk id="208" creationId="{ADCAB55F-F047-458E-B6D6-CD409E3381EA}"/>
          </ac:cxnSpMkLst>
        </pc:cxnChg>
        <pc:cxnChg chg="mod">
          <ac:chgData name="Andreas Weiss" userId="86f45389-4ad9-4ce5-aa22-b4e8edefafef" providerId="ADAL" clId="{BF97026B-F088-444A-89FB-4AB1CE25C7E5}" dt="2021-08-31T11:40:14.091" v="402" actId="1035"/>
          <ac:cxnSpMkLst>
            <pc:docMk/>
            <pc:sldMk cId="277429062" sldId="462"/>
            <ac:cxnSpMk id="209" creationId="{55CF6AFC-B410-4141-A76B-16D1DD9CCA8D}"/>
          </ac:cxnSpMkLst>
        </pc:cxnChg>
        <pc:cxnChg chg="mod">
          <ac:chgData name="Andreas Weiss" userId="86f45389-4ad9-4ce5-aa22-b4e8edefafef" providerId="ADAL" clId="{BF97026B-F088-444A-89FB-4AB1CE25C7E5}" dt="2021-08-31T12:19:47.891" v="967" actId="207"/>
          <ac:cxnSpMkLst>
            <pc:docMk/>
            <pc:sldMk cId="277429062" sldId="462"/>
            <ac:cxnSpMk id="272" creationId="{C4E27216-C18B-4B6C-A617-8CE49972E51E}"/>
          </ac:cxnSpMkLst>
        </pc:cxnChg>
        <pc:cxnChg chg="mod">
          <ac:chgData name="Andreas Weiss" userId="86f45389-4ad9-4ce5-aa22-b4e8edefafef" providerId="ADAL" clId="{BF97026B-F088-444A-89FB-4AB1CE25C7E5}" dt="2021-08-31T12:19:47.891" v="967" actId="207"/>
          <ac:cxnSpMkLst>
            <pc:docMk/>
            <pc:sldMk cId="277429062" sldId="462"/>
            <ac:cxnSpMk id="273" creationId="{C0B755D5-C0CB-4B09-827A-58EE3447E4CC}"/>
          </ac:cxnSpMkLst>
        </pc:cxnChg>
        <pc:cxnChg chg="mod">
          <ac:chgData name="Andreas Weiss" userId="86f45389-4ad9-4ce5-aa22-b4e8edefafef" providerId="ADAL" clId="{BF97026B-F088-444A-89FB-4AB1CE25C7E5}" dt="2021-08-31T12:19:47.891" v="967" actId="207"/>
          <ac:cxnSpMkLst>
            <pc:docMk/>
            <pc:sldMk cId="277429062" sldId="462"/>
            <ac:cxnSpMk id="274" creationId="{80D414DB-D5EB-4C19-8673-BB997E1CC944}"/>
          </ac:cxnSpMkLst>
        </pc:cxnChg>
        <pc:cxnChg chg="mod">
          <ac:chgData name="Andreas Weiss" userId="86f45389-4ad9-4ce5-aa22-b4e8edefafef" providerId="ADAL" clId="{BF97026B-F088-444A-89FB-4AB1CE25C7E5}" dt="2021-08-31T12:19:47.891" v="967" actId="207"/>
          <ac:cxnSpMkLst>
            <pc:docMk/>
            <pc:sldMk cId="277429062" sldId="462"/>
            <ac:cxnSpMk id="275" creationId="{7C0B1F75-254D-4CB0-876E-08761D59171F}"/>
          </ac:cxnSpMkLst>
        </pc:cxnChg>
        <pc:cxnChg chg="mod">
          <ac:chgData name="Andreas Weiss" userId="86f45389-4ad9-4ce5-aa22-b4e8edefafef" providerId="ADAL" clId="{BF97026B-F088-444A-89FB-4AB1CE25C7E5}" dt="2021-08-31T12:21:01.178" v="978"/>
          <ac:cxnSpMkLst>
            <pc:docMk/>
            <pc:sldMk cId="277429062" sldId="462"/>
            <ac:cxnSpMk id="279" creationId="{5FC26821-20E8-4457-AA3D-C33734214ADF}"/>
          </ac:cxnSpMkLst>
        </pc:cxnChg>
        <pc:cxnChg chg="mod">
          <ac:chgData name="Andreas Weiss" userId="86f45389-4ad9-4ce5-aa22-b4e8edefafef" providerId="ADAL" clId="{BF97026B-F088-444A-89FB-4AB1CE25C7E5}" dt="2021-08-31T12:21:24.026" v="983" actId="1036"/>
          <ac:cxnSpMkLst>
            <pc:docMk/>
            <pc:sldMk cId="277429062" sldId="462"/>
            <ac:cxnSpMk id="280" creationId="{67A37138-AADD-48F8-ACF0-63C6ADC9CEE4}"/>
          </ac:cxnSpMkLst>
        </pc:cxnChg>
        <pc:cxnChg chg="mod">
          <ac:chgData name="Andreas Weiss" userId="86f45389-4ad9-4ce5-aa22-b4e8edefafef" providerId="ADAL" clId="{BF97026B-F088-444A-89FB-4AB1CE25C7E5}" dt="2021-08-31T12:21:56.481" v="988"/>
          <ac:cxnSpMkLst>
            <pc:docMk/>
            <pc:sldMk cId="277429062" sldId="462"/>
            <ac:cxnSpMk id="292" creationId="{DD4E01BE-B7A6-4AA6-97E1-1B9A2936D83D}"/>
          </ac:cxnSpMkLst>
        </pc:cxnChg>
        <pc:cxnChg chg="mod">
          <ac:chgData name="Andreas Weiss" userId="86f45389-4ad9-4ce5-aa22-b4e8edefafef" providerId="ADAL" clId="{BF97026B-F088-444A-89FB-4AB1CE25C7E5}" dt="2021-08-31T12:21:56.481" v="988"/>
          <ac:cxnSpMkLst>
            <pc:docMk/>
            <pc:sldMk cId="277429062" sldId="462"/>
            <ac:cxnSpMk id="293" creationId="{EA0BBD6D-4D08-421F-9150-138400A84632}"/>
          </ac:cxnSpMkLst>
        </pc:cxnChg>
        <pc:cxnChg chg="mod">
          <ac:chgData name="Andreas Weiss" userId="86f45389-4ad9-4ce5-aa22-b4e8edefafef" providerId="ADAL" clId="{BF97026B-F088-444A-89FB-4AB1CE25C7E5}" dt="2021-08-31T12:21:56.481" v="988"/>
          <ac:cxnSpMkLst>
            <pc:docMk/>
            <pc:sldMk cId="277429062" sldId="462"/>
            <ac:cxnSpMk id="294" creationId="{AFE86453-AAA1-4DFF-8A8F-4427358C3EA3}"/>
          </ac:cxnSpMkLst>
        </pc:cxnChg>
        <pc:cxnChg chg="mod">
          <ac:chgData name="Andreas Weiss" userId="86f45389-4ad9-4ce5-aa22-b4e8edefafef" providerId="ADAL" clId="{BF97026B-F088-444A-89FB-4AB1CE25C7E5}" dt="2021-08-31T12:21:56.481" v="988"/>
          <ac:cxnSpMkLst>
            <pc:docMk/>
            <pc:sldMk cId="277429062" sldId="462"/>
            <ac:cxnSpMk id="295" creationId="{2EBDE72D-F7CC-4D1A-BE6C-1CADD26DC42C}"/>
          </ac:cxnSpMkLst>
        </pc:cxnChg>
        <pc:cxnChg chg="mod">
          <ac:chgData name="Andreas Weiss" userId="86f45389-4ad9-4ce5-aa22-b4e8edefafef" providerId="ADAL" clId="{BF97026B-F088-444A-89FB-4AB1CE25C7E5}" dt="2021-08-31T12:21:56.481" v="988"/>
          <ac:cxnSpMkLst>
            <pc:docMk/>
            <pc:sldMk cId="277429062" sldId="462"/>
            <ac:cxnSpMk id="299" creationId="{1ECB5F47-16F5-40CE-9D56-78C433BA2D58}"/>
          </ac:cxnSpMkLst>
        </pc:cxnChg>
        <pc:cxnChg chg="mod">
          <ac:chgData name="Andreas Weiss" userId="86f45389-4ad9-4ce5-aa22-b4e8edefafef" providerId="ADAL" clId="{BF97026B-F088-444A-89FB-4AB1CE25C7E5}" dt="2021-08-31T12:21:56.481" v="988"/>
          <ac:cxnSpMkLst>
            <pc:docMk/>
            <pc:sldMk cId="277429062" sldId="462"/>
            <ac:cxnSpMk id="300" creationId="{FFBEDC5A-7339-46B8-84BB-F7C0B250FD3C}"/>
          </ac:cxnSpMkLst>
        </pc:cxnChg>
        <pc:cxnChg chg="mod">
          <ac:chgData name="Andreas Weiss" userId="86f45389-4ad9-4ce5-aa22-b4e8edefafef" providerId="ADAL" clId="{BF97026B-F088-444A-89FB-4AB1CE25C7E5}" dt="2021-08-31T12:22:35.217" v="998"/>
          <ac:cxnSpMkLst>
            <pc:docMk/>
            <pc:sldMk cId="277429062" sldId="462"/>
            <ac:cxnSpMk id="306" creationId="{D029A522-FE1E-4FB4-B286-6564C03EA1F4}"/>
          </ac:cxnSpMkLst>
        </pc:cxnChg>
        <pc:cxnChg chg="mod">
          <ac:chgData name="Andreas Weiss" userId="86f45389-4ad9-4ce5-aa22-b4e8edefafef" providerId="ADAL" clId="{BF97026B-F088-444A-89FB-4AB1CE25C7E5}" dt="2021-08-31T12:22:35.217" v="998"/>
          <ac:cxnSpMkLst>
            <pc:docMk/>
            <pc:sldMk cId="277429062" sldId="462"/>
            <ac:cxnSpMk id="307" creationId="{159AA3A0-11F3-49C8-8D0F-CC5DDA6EBD5B}"/>
          </ac:cxnSpMkLst>
        </pc:cxnChg>
        <pc:cxnChg chg="mod">
          <ac:chgData name="Andreas Weiss" userId="86f45389-4ad9-4ce5-aa22-b4e8edefafef" providerId="ADAL" clId="{BF97026B-F088-444A-89FB-4AB1CE25C7E5}" dt="2021-08-31T12:22:35.217" v="998"/>
          <ac:cxnSpMkLst>
            <pc:docMk/>
            <pc:sldMk cId="277429062" sldId="462"/>
            <ac:cxnSpMk id="308" creationId="{166688F4-E3ED-4635-9B1A-1288821C124D}"/>
          </ac:cxnSpMkLst>
        </pc:cxnChg>
        <pc:cxnChg chg="mod">
          <ac:chgData name="Andreas Weiss" userId="86f45389-4ad9-4ce5-aa22-b4e8edefafef" providerId="ADAL" clId="{BF97026B-F088-444A-89FB-4AB1CE25C7E5}" dt="2021-08-31T12:22:35.217" v="998"/>
          <ac:cxnSpMkLst>
            <pc:docMk/>
            <pc:sldMk cId="277429062" sldId="462"/>
            <ac:cxnSpMk id="309" creationId="{52EE3AC4-8E0B-476D-89A8-26653BBC228D}"/>
          </ac:cxnSpMkLst>
        </pc:cxnChg>
        <pc:cxnChg chg="mod">
          <ac:chgData name="Andreas Weiss" userId="86f45389-4ad9-4ce5-aa22-b4e8edefafef" providerId="ADAL" clId="{BF97026B-F088-444A-89FB-4AB1CE25C7E5}" dt="2021-08-31T12:22:35.217" v="998"/>
          <ac:cxnSpMkLst>
            <pc:docMk/>
            <pc:sldMk cId="277429062" sldId="462"/>
            <ac:cxnSpMk id="313" creationId="{135D8777-61DC-4E5B-AA73-6C0DF5B28379}"/>
          </ac:cxnSpMkLst>
        </pc:cxnChg>
        <pc:cxnChg chg="mod">
          <ac:chgData name="Andreas Weiss" userId="86f45389-4ad9-4ce5-aa22-b4e8edefafef" providerId="ADAL" clId="{BF97026B-F088-444A-89FB-4AB1CE25C7E5}" dt="2021-08-31T12:22:35.217" v="998"/>
          <ac:cxnSpMkLst>
            <pc:docMk/>
            <pc:sldMk cId="277429062" sldId="462"/>
            <ac:cxnSpMk id="314" creationId="{927AEE46-6DCD-4F48-AA56-AC3BA5CA284A}"/>
          </ac:cxnSpMkLst>
        </pc:cxnChg>
        <pc:cxnChg chg="mod">
          <ac:chgData name="Andreas Weiss" userId="86f45389-4ad9-4ce5-aa22-b4e8edefafef" providerId="ADAL" clId="{BF97026B-F088-444A-89FB-4AB1CE25C7E5}" dt="2021-08-31T12:22:48.372" v="1000"/>
          <ac:cxnSpMkLst>
            <pc:docMk/>
            <pc:sldMk cId="277429062" sldId="462"/>
            <ac:cxnSpMk id="327" creationId="{47ACBDC1-3C90-4B06-B454-B163B0C7D839}"/>
          </ac:cxnSpMkLst>
        </pc:cxnChg>
        <pc:cxnChg chg="mod">
          <ac:chgData name="Andreas Weiss" userId="86f45389-4ad9-4ce5-aa22-b4e8edefafef" providerId="ADAL" clId="{BF97026B-F088-444A-89FB-4AB1CE25C7E5}" dt="2021-08-31T12:22:48.372" v="1000"/>
          <ac:cxnSpMkLst>
            <pc:docMk/>
            <pc:sldMk cId="277429062" sldId="462"/>
            <ac:cxnSpMk id="328" creationId="{DE097B29-9453-4893-B61B-3CF21A44CA72}"/>
          </ac:cxnSpMkLst>
        </pc:cxnChg>
        <pc:cxnChg chg="mod">
          <ac:chgData name="Andreas Weiss" userId="86f45389-4ad9-4ce5-aa22-b4e8edefafef" providerId="ADAL" clId="{BF97026B-F088-444A-89FB-4AB1CE25C7E5}" dt="2021-08-31T12:22:48.372" v="1000"/>
          <ac:cxnSpMkLst>
            <pc:docMk/>
            <pc:sldMk cId="277429062" sldId="462"/>
            <ac:cxnSpMk id="329" creationId="{EA51C49C-F094-4114-930F-0B4B1FBA7417}"/>
          </ac:cxnSpMkLst>
        </pc:cxnChg>
        <pc:cxnChg chg="mod">
          <ac:chgData name="Andreas Weiss" userId="86f45389-4ad9-4ce5-aa22-b4e8edefafef" providerId="ADAL" clId="{BF97026B-F088-444A-89FB-4AB1CE25C7E5}" dt="2021-08-31T12:22:48.372" v="1000"/>
          <ac:cxnSpMkLst>
            <pc:docMk/>
            <pc:sldMk cId="277429062" sldId="462"/>
            <ac:cxnSpMk id="330" creationId="{4E8FBD67-A6F2-4F7E-871F-23875674907B}"/>
          </ac:cxnSpMkLst>
        </pc:cxnChg>
        <pc:cxnChg chg="mod">
          <ac:chgData name="Andreas Weiss" userId="86f45389-4ad9-4ce5-aa22-b4e8edefafef" providerId="ADAL" clId="{BF97026B-F088-444A-89FB-4AB1CE25C7E5}" dt="2021-08-31T12:22:48.372" v="1000"/>
          <ac:cxnSpMkLst>
            <pc:docMk/>
            <pc:sldMk cId="277429062" sldId="462"/>
            <ac:cxnSpMk id="334" creationId="{3B6DE71D-C65C-4F81-94D4-12AB361E2A5B}"/>
          </ac:cxnSpMkLst>
        </pc:cxnChg>
        <pc:cxnChg chg="mod">
          <ac:chgData name="Andreas Weiss" userId="86f45389-4ad9-4ce5-aa22-b4e8edefafef" providerId="ADAL" clId="{BF97026B-F088-444A-89FB-4AB1CE25C7E5}" dt="2021-08-31T12:22:48.372" v="1000"/>
          <ac:cxnSpMkLst>
            <pc:docMk/>
            <pc:sldMk cId="277429062" sldId="462"/>
            <ac:cxnSpMk id="335" creationId="{7F5B12AE-EC03-4B1F-A9A1-385AE04C0837}"/>
          </ac:cxnSpMkLst>
        </pc:cxnChg>
      </pc:sldChg>
      <pc:sldChg chg="addSp delSp modSp mod ord modAnim">
        <pc:chgData name="Andreas Weiss" userId="86f45389-4ad9-4ce5-aa22-b4e8edefafef" providerId="ADAL" clId="{BF97026B-F088-444A-89FB-4AB1CE25C7E5}" dt="2021-09-06T08:19:14.028" v="7290"/>
        <pc:sldMkLst>
          <pc:docMk/>
          <pc:sldMk cId="3916372632" sldId="463"/>
        </pc:sldMkLst>
        <pc:spChg chg="add del mod">
          <ac:chgData name="Andreas Weiss" userId="86f45389-4ad9-4ce5-aa22-b4e8edefafef" providerId="ADAL" clId="{BF97026B-F088-444A-89FB-4AB1CE25C7E5}" dt="2021-08-31T14:05:15.863" v="1623" actId="478"/>
          <ac:spMkLst>
            <pc:docMk/>
            <pc:sldMk cId="3916372632" sldId="463"/>
            <ac:spMk id="2" creationId="{045F4DE3-D530-43B5-8267-483DDF15AA22}"/>
          </ac:spMkLst>
        </pc:spChg>
        <pc:spChg chg="add mod">
          <ac:chgData name="Andreas Weiss" userId="86f45389-4ad9-4ce5-aa22-b4e8edefafef" providerId="ADAL" clId="{BF97026B-F088-444A-89FB-4AB1CE25C7E5}" dt="2021-08-31T14:13:56.391" v="1771" actId="1035"/>
          <ac:spMkLst>
            <pc:docMk/>
            <pc:sldMk cId="3916372632" sldId="463"/>
            <ac:spMk id="3" creationId="{3B20DE58-931F-46B1-A361-BA05330D0F03}"/>
          </ac:spMkLst>
        </pc:spChg>
        <pc:spChg chg="mod">
          <ac:chgData name="Andreas Weiss" userId="86f45389-4ad9-4ce5-aa22-b4e8edefafef" providerId="ADAL" clId="{BF97026B-F088-444A-89FB-4AB1CE25C7E5}" dt="2021-08-31T14:14:07.400" v="1772" actId="20577"/>
          <ac:spMkLst>
            <pc:docMk/>
            <pc:sldMk cId="3916372632" sldId="463"/>
            <ac:spMk id="6" creationId="{00000000-0000-0000-0000-000000000000}"/>
          </ac:spMkLst>
        </pc:spChg>
        <pc:spChg chg="mod">
          <ac:chgData name="Andreas Weiss" userId="86f45389-4ad9-4ce5-aa22-b4e8edefafef" providerId="ADAL" clId="{BF97026B-F088-444A-89FB-4AB1CE25C7E5}" dt="2021-09-06T06:55:16.593" v="7048" actId="20577"/>
          <ac:spMkLst>
            <pc:docMk/>
            <pc:sldMk cId="3916372632" sldId="463"/>
            <ac:spMk id="7" creationId="{00000000-0000-0000-0000-000000000000}"/>
          </ac:spMkLst>
        </pc:spChg>
        <pc:spChg chg="mod">
          <ac:chgData name="Andreas Weiss" userId="86f45389-4ad9-4ce5-aa22-b4e8edefafef" providerId="ADAL" clId="{BF97026B-F088-444A-89FB-4AB1CE25C7E5}" dt="2021-08-31T14:03:26.316" v="1606"/>
          <ac:spMkLst>
            <pc:docMk/>
            <pc:sldMk cId="3916372632" sldId="463"/>
            <ac:spMk id="10" creationId="{6C9905E5-A1F6-4578-8BAB-BE972DE6A381}"/>
          </ac:spMkLst>
        </pc:spChg>
        <pc:spChg chg="mod">
          <ac:chgData name="Andreas Weiss" userId="86f45389-4ad9-4ce5-aa22-b4e8edefafef" providerId="ADAL" clId="{BF97026B-F088-444A-89FB-4AB1CE25C7E5}" dt="2021-08-31T14:03:26.316" v="1606"/>
          <ac:spMkLst>
            <pc:docMk/>
            <pc:sldMk cId="3916372632" sldId="463"/>
            <ac:spMk id="11" creationId="{CC137926-B532-4395-894D-AF00A0D69817}"/>
          </ac:spMkLst>
        </pc:spChg>
        <pc:spChg chg="mod">
          <ac:chgData name="Andreas Weiss" userId="86f45389-4ad9-4ce5-aa22-b4e8edefafef" providerId="ADAL" clId="{BF97026B-F088-444A-89FB-4AB1CE25C7E5}" dt="2021-08-31T14:03:26.316" v="1606"/>
          <ac:spMkLst>
            <pc:docMk/>
            <pc:sldMk cId="3916372632" sldId="463"/>
            <ac:spMk id="12" creationId="{24051F9B-0FB7-4A6D-9403-7A9A94B54F6F}"/>
          </ac:spMkLst>
        </pc:spChg>
        <pc:spChg chg="mod">
          <ac:chgData name="Andreas Weiss" userId="86f45389-4ad9-4ce5-aa22-b4e8edefafef" providerId="ADAL" clId="{BF97026B-F088-444A-89FB-4AB1CE25C7E5}" dt="2021-08-31T14:03:26.316" v="1606"/>
          <ac:spMkLst>
            <pc:docMk/>
            <pc:sldMk cId="3916372632" sldId="463"/>
            <ac:spMk id="16" creationId="{7A4F31E6-4BEC-4149-86BA-952756BBE2BC}"/>
          </ac:spMkLst>
        </pc:spChg>
        <pc:spChg chg="mod">
          <ac:chgData name="Andreas Weiss" userId="86f45389-4ad9-4ce5-aa22-b4e8edefafef" providerId="ADAL" clId="{BF97026B-F088-444A-89FB-4AB1CE25C7E5}" dt="2021-08-31T14:03:26.316" v="1606"/>
          <ac:spMkLst>
            <pc:docMk/>
            <pc:sldMk cId="3916372632" sldId="463"/>
            <ac:spMk id="17" creationId="{0B6908AE-312C-4CB8-B575-685D84AFDBBB}"/>
          </ac:spMkLst>
        </pc:spChg>
        <pc:spChg chg="mod">
          <ac:chgData name="Andreas Weiss" userId="86f45389-4ad9-4ce5-aa22-b4e8edefafef" providerId="ADAL" clId="{BF97026B-F088-444A-89FB-4AB1CE25C7E5}" dt="2021-08-31T14:03:26.316" v="1606"/>
          <ac:spMkLst>
            <pc:docMk/>
            <pc:sldMk cId="3916372632" sldId="463"/>
            <ac:spMk id="18" creationId="{36A90BD9-19C6-400D-BE94-9716B906E4BC}"/>
          </ac:spMkLst>
        </pc:spChg>
        <pc:spChg chg="mod">
          <ac:chgData name="Andreas Weiss" userId="86f45389-4ad9-4ce5-aa22-b4e8edefafef" providerId="ADAL" clId="{BF97026B-F088-444A-89FB-4AB1CE25C7E5}" dt="2021-08-31T14:03:26.316" v="1606"/>
          <ac:spMkLst>
            <pc:docMk/>
            <pc:sldMk cId="3916372632" sldId="463"/>
            <ac:spMk id="19" creationId="{D0F49F11-43E4-4B1F-9DC3-FC9B331FB41A}"/>
          </ac:spMkLst>
        </pc:spChg>
        <pc:spChg chg="mod">
          <ac:chgData name="Andreas Weiss" userId="86f45389-4ad9-4ce5-aa22-b4e8edefafef" providerId="ADAL" clId="{BF97026B-F088-444A-89FB-4AB1CE25C7E5}" dt="2021-08-31T14:04:46.614" v="1620" actId="207"/>
          <ac:spMkLst>
            <pc:docMk/>
            <pc:sldMk cId="3916372632" sldId="463"/>
            <ac:spMk id="21" creationId="{06C5C9EE-ABE1-486E-B221-2C0280DE1FC2}"/>
          </ac:spMkLst>
        </pc:spChg>
        <pc:spChg chg="mod">
          <ac:chgData name="Andreas Weiss" userId="86f45389-4ad9-4ce5-aa22-b4e8edefafef" providerId="ADAL" clId="{BF97026B-F088-444A-89FB-4AB1CE25C7E5}" dt="2021-08-31T14:04:46.614" v="1620" actId="207"/>
          <ac:spMkLst>
            <pc:docMk/>
            <pc:sldMk cId="3916372632" sldId="463"/>
            <ac:spMk id="22" creationId="{21D341D6-F265-4798-9255-97290D7C95F7}"/>
          </ac:spMkLst>
        </pc:spChg>
        <pc:spChg chg="mod">
          <ac:chgData name="Andreas Weiss" userId="86f45389-4ad9-4ce5-aa22-b4e8edefafef" providerId="ADAL" clId="{BF97026B-F088-444A-89FB-4AB1CE25C7E5}" dt="2021-08-31T14:04:46.614" v="1620" actId="207"/>
          <ac:spMkLst>
            <pc:docMk/>
            <pc:sldMk cId="3916372632" sldId="463"/>
            <ac:spMk id="23" creationId="{6DC04B21-59DD-4339-AA73-17038D2B98B0}"/>
          </ac:spMkLst>
        </pc:spChg>
        <pc:spChg chg="mod">
          <ac:chgData name="Andreas Weiss" userId="86f45389-4ad9-4ce5-aa22-b4e8edefafef" providerId="ADAL" clId="{BF97026B-F088-444A-89FB-4AB1CE25C7E5}" dt="2021-08-31T14:04:46.614" v="1620" actId="207"/>
          <ac:spMkLst>
            <pc:docMk/>
            <pc:sldMk cId="3916372632" sldId="463"/>
            <ac:spMk id="24" creationId="{9EEDE139-8586-4FA6-8F90-149DE0D8AA54}"/>
          </ac:spMkLst>
        </pc:spChg>
        <pc:spChg chg="mod">
          <ac:chgData name="Andreas Weiss" userId="86f45389-4ad9-4ce5-aa22-b4e8edefafef" providerId="ADAL" clId="{BF97026B-F088-444A-89FB-4AB1CE25C7E5}" dt="2021-08-31T14:05:11.365" v="1622" actId="207"/>
          <ac:spMkLst>
            <pc:docMk/>
            <pc:sldMk cId="3916372632" sldId="463"/>
            <ac:spMk id="25" creationId="{FD0BAEAE-C934-44F4-8AAC-23DD126124F6}"/>
          </ac:spMkLst>
        </pc:spChg>
        <pc:spChg chg="mod">
          <ac:chgData name="Andreas Weiss" userId="86f45389-4ad9-4ce5-aa22-b4e8edefafef" providerId="ADAL" clId="{BF97026B-F088-444A-89FB-4AB1CE25C7E5}" dt="2021-08-31T14:04:46.614" v="1620" actId="207"/>
          <ac:spMkLst>
            <pc:docMk/>
            <pc:sldMk cId="3916372632" sldId="463"/>
            <ac:spMk id="26" creationId="{EBEAB70A-8F49-4144-B480-9F093853F81A}"/>
          </ac:spMkLst>
        </pc:spChg>
        <pc:spChg chg="mod">
          <ac:chgData name="Andreas Weiss" userId="86f45389-4ad9-4ce5-aa22-b4e8edefafef" providerId="ADAL" clId="{BF97026B-F088-444A-89FB-4AB1CE25C7E5}" dt="2021-08-31T14:04:46.614" v="1620" actId="207"/>
          <ac:spMkLst>
            <pc:docMk/>
            <pc:sldMk cId="3916372632" sldId="463"/>
            <ac:spMk id="27" creationId="{4279F383-C5B3-4D18-85A5-9D136546D4F6}"/>
          </ac:spMkLst>
        </pc:spChg>
        <pc:spChg chg="mod">
          <ac:chgData name="Andreas Weiss" userId="86f45389-4ad9-4ce5-aa22-b4e8edefafef" providerId="ADAL" clId="{BF97026B-F088-444A-89FB-4AB1CE25C7E5}" dt="2021-08-31T14:04:46.614" v="1620" actId="207"/>
          <ac:spMkLst>
            <pc:docMk/>
            <pc:sldMk cId="3916372632" sldId="463"/>
            <ac:spMk id="28" creationId="{56EE8487-46BC-45A8-B25C-E0F38FEC86E0}"/>
          </ac:spMkLst>
        </pc:spChg>
        <pc:spChg chg="mod">
          <ac:chgData name="Andreas Weiss" userId="86f45389-4ad9-4ce5-aa22-b4e8edefafef" providerId="ADAL" clId="{BF97026B-F088-444A-89FB-4AB1CE25C7E5}" dt="2021-08-31T14:04:46.614" v="1620" actId="207"/>
          <ac:spMkLst>
            <pc:docMk/>
            <pc:sldMk cId="3916372632" sldId="463"/>
            <ac:spMk id="29" creationId="{DC207889-2973-432D-A11A-BDF3B70F066F}"/>
          </ac:spMkLst>
        </pc:spChg>
        <pc:spChg chg="mod">
          <ac:chgData name="Andreas Weiss" userId="86f45389-4ad9-4ce5-aa22-b4e8edefafef" providerId="ADAL" clId="{BF97026B-F088-444A-89FB-4AB1CE25C7E5}" dt="2021-08-31T14:04:58.831" v="1621" actId="207"/>
          <ac:spMkLst>
            <pc:docMk/>
            <pc:sldMk cId="3916372632" sldId="463"/>
            <ac:spMk id="30" creationId="{A38563D5-7DFD-45AC-B0B5-E4E04EFED28D}"/>
          </ac:spMkLst>
        </pc:spChg>
        <pc:spChg chg="mod">
          <ac:chgData name="Andreas Weiss" userId="86f45389-4ad9-4ce5-aa22-b4e8edefafef" providerId="ADAL" clId="{BF97026B-F088-444A-89FB-4AB1CE25C7E5}" dt="2021-08-31T14:04:46.614" v="1620" actId="207"/>
          <ac:spMkLst>
            <pc:docMk/>
            <pc:sldMk cId="3916372632" sldId="463"/>
            <ac:spMk id="31" creationId="{4C83BFF7-0305-4A6A-ADC4-361958CA0E97}"/>
          </ac:spMkLst>
        </pc:spChg>
        <pc:spChg chg="mod">
          <ac:chgData name="Andreas Weiss" userId="86f45389-4ad9-4ce5-aa22-b4e8edefafef" providerId="ADAL" clId="{BF97026B-F088-444A-89FB-4AB1CE25C7E5}" dt="2021-08-31T14:04:46.614" v="1620" actId="207"/>
          <ac:spMkLst>
            <pc:docMk/>
            <pc:sldMk cId="3916372632" sldId="463"/>
            <ac:spMk id="32" creationId="{CDFF1FF0-93E4-469F-9D50-CEEDA87411B3}"/>
          </ac:spMkLst>
        </pc:spChg>
        <pc:spChg chg="mod">
          <ac:chgData name="Andreas Weiss" userId="86f45389-4ad9-4ce5-aa22-b4e8edefafef" providerId="ADAL" clId="{BF97026B-F088-444A-89FB-4AB1CE25C7E5}" dt="2021-08-31T14:04:46.614" v="1620" actId="207"/>
          <ac:spMkLst>
            <pc:docMk/>
            <pc:sldMk cId="3916372632" sldId="463"/>
            <ac:spMk id="33" creationId="{D7295B72-88AE-46A2-B49A-630F7F2C2BEB}"/>
          </ac:spMkLst>
        </pc:spChg>
        <pc:spChg chg="mod">
          <ac:chgData name="Andreas Weiss" userId="86f45389-4ad9-4ce5-aa22-b4e8edefafef" providerId="ADAL" clId="{BF97026B-F088-444A-89FB-4AB1CE25C7E5}" dt="2021-08-31T14:04:46.614" v="1620" actId="207"/>
          <ac:spMkLst>
            <pc:docMk/>
            <pc:sldMk cId="3916372632" sldId="463"/>
            <ac:spMk id="34" creationId="{C98BA254-DDF9-4046-AE92-40E9C404E967}"/>
          </ac:spMkLst>
        </pc:spChg>
        <pc:spChg chg="mod">
          <ac:chgData name="Andreas Weiss" userId="86f45389-4ad9-4ce5-aa22-b4e8edefafef" providerId="ADAL" clId="{BF97026B-F088-444A-89FB-4AB1CE25C7E5}" dt="2021-08-31T14:04:46.614" v="1620" actId="207"/>
          <ac:spMkLst>
            <pc:docMk/>
            <pc:sldMk cId="3916372632" sldId="463"/>
            <ac:spMk id="35" creationId="{23E94938-4549-4989-BFB3-E14347FCA2EB}"/>
          </ac:spMkLst>
        </pc:spChg>
        <pc:spChg chg="mod">
          <ac:chgData name="Andreas Weiss" userId="86f45389-4ad9-4ce5-aa22-b4e8edefafef" providerId="ADAL" clId="{BF97026B-F088-444A-89FB-4AB1CE25C7E5}" dt="2021-08-31T14:04:46.614" v="1620" actId="207"/>
          <ac:spMkLst>
            <pc:docMk/>
            <pc:sldMk cId="3916372632" sldId="463"/>
            <ac:spMk id="36" creationId="{479DDEB6-F624-4E70-9DC3-2D43BACF6685}"/>
          </ac:spMkLst>
        </pc:spChg>
        <pc:spChg chg="mod">
          <ac:chgData name="Andreas Weiss" userId="86f45389-4ad9-4ce5-aa22-b4e8edefafef" providerId="ADAL" clId="{BF97026B-F088-444A-89FB-4AB1CE25C7E5}" dt="2021-08-31T14:04:46.614" v="1620" actId="207"/>
          <ac:spMkLst>
            <pc:docMk/>
            <pc:sldMk cId="3916372632" sldId="463"/>
            <ac:spMk id="37" creationId="{FF03DF8D-CDB0-4B6F-8DD0-F5A73EAB3BC2}"/>
          </ac:spMkLst>
        </pc:spChg>
        <pc:spChg chg="mod">
          <ac:chgData name="Andreas Weiss" userId="86f45389-4ad9-4ce5-aa22-b4e8edefafef" providerId="ADAL" clId="{BF97026B-F088-444A-89FB-4AB1CE25C7E5}" dt="2021-08-31T14:04:46.614" v="1620" actId="207"/>
          <ac:spMkLst>
            <pc:docMk/>
            <pc:sldMk cId="3916372632" sldId="463"/>
            <ac:spMk id="38" creationId="{50115A7F-A408-41C7-AA48-89AA86AD45EA}"/>
          </ac:spMkLst>
        </pc:spChg>
        <pc:spChg chg="mod">
          <ac:chgData name="Andreas Weiss" userId="86f45389-4ad9-4ce5-aa22-b4e8edefafef" providerId="ADAL" clId="{BF97026B-F088-444A-89FB-4AB1CE25C7E5}" dt="2021-08-31T14:04:26.111" v="1617" actId="207"/>
          <ac:spMkLst>
            <pc:docMk/>
            <pc:sldMk cId="3916372632" sldId="463"/>
            <ac:spMk id="40" creationId="{3C942577-14CD-4896-A63D-6CE27E49CFB4}"/>
          </ac:spMkLst>
        </pc:spChg>
        <pc:spChg chg="mod">
          <ac:chgData name="Andreas Weiss" userId="86f45389-4ad9-4ce5-aa22-b4e8edefafef" providerId="ADAL" clId="{BF97026B-F088-444A-89FB-4AB1CE25C7E5}" dt="2021-08-31T14:04:26.111" v="1617" actId="207"/>
          <ac:spMkLst>
            <pc:docMk/>
            <pc:sldMk cId="3916372632" sldId="463"/>
            <ac:spMk id="41" creationId="{1F4D2E4D-4CDC-4889-BEDB-69F6F4766BFC}"/>
          </ac:spMkLst>
        </pc:spChg>
        <pc:spChg chg="mod">
          <ac:chgData name="Andreas Weiss" userId="86f45389-4ad9-4ce5-aa22-b4e8edefafef" providerId="ADAL" clId="{BF97026B-F088-444A-89FB-4AB1CE25C7E5}" dt="2021-08-31T14:04:26.111" v="1617" actId="207"/>
          <ac:spMkLst>
            <pc:docMk/>
            <pc:sldMk cId="3916372632" sldId="463"/>
            <ac:spMk id="42" creationId="{0F4EECA4-3E65-4ED0-8F35-5FF15E6A1B70}"/>
          </ac:spMkLst>
        </pc:spChg>
        <pc:spChg chg="mod">
          <ac:chgData name="Andreas Weiss" userId="86f45389-4ad9-4ce5-aa22-b4e8edefafef" providerId="ADAL" clId="{BF97026B-F088-444A-89FB-4AB1CE25C7E5}" dt="2021-08-31T14:04:26.111" v="1617" actId="207"/>
          <ac:spMkLst>
            <pc:docMk/>
            <pc:sldMk cId="3916372632" sldId="463"/>
            <ac:spMk id="43" creationId="{D3D733CC-F322-44F7-B159-53142E0FB7AF}"/>
          </ac:spMkLst>
        </pc:spChg>
        <pc:spChg chg="mod">
          <ac:chgData name="Andreas Weiss" userId="86f45389-4ad9-4ce5-aa22-b4e8edefafef" providerId="ADAL" clId="{BF97026B-F088-444A-89FB-4AB1CE25C7E5}" dt="2021-08-31T14:04:37.078" v="1619" actId="207"/>
          <ac:spMkLst>
            <pc:docMk/>
            <pc:sldMk cId="3916372632" sldId="463"/>
            <ac:spMk id="44" creationId="{C7733778-003C-4650-819A-7BEE34B080F0}"/>
          </ac:spMkLst>
        </pc:spChg>
        <pc:spChg chg="mod">
          <ac:chgData name="Andreas Weiss" userId="86f45389-4ad9-4ce5-aa22-b4e8edefafef" providerId="ADAL" clId="{BF97026B-F088-444A-89FB-4AB1CE25C7E5}" dt="2021-08-31T14:04:26.111" v="1617" actId="207"/>
          <ac:spMkLst>
            <pc:docMk/>
            <pc:sldMk cId="3916372632" sldId="463"/>
            <ac:spMk id="45" creationId="{855F994D-39A5-41A3-9836-85B64B39CCD9}"/>
          </ac:spMkLst>
        </pc:spChg>
        <pc:spChg chg="mod">
          <ac:chgData name="Andreas Weiss" userId="86f45389-4ad9-4ce5-aa22-b4e8edefafef" providerId="ADAL" clId="{BF97026B-F088-444A-89FB-4AB1CE25C7E5}" dt="2021-08-31T14:04:26.111" v="1617" actId="207"/>
          <ac:spMkLst>
            <pc:docMk/>
            <pc:sldMk cId="3916372632" sldId="463"/>
            <ac:spMk id="46" creationId="{4448074F-B721-4C98-BCBE-86271FE176B2}"/>
          </ac:spMkLst>
        </pc:spChg>
        <pc:spChg chg="mod">
          <ac:chgData name="Andreas Weiss" userId="86f45389-4ad9-4ce5-aa22-b4e8edefafef" providerId="ADAL" clId="{BF97026B-F088-444A-89FB-4AB1CE25C7E5}" dt="2021-08-31T14:04:26.111" v="1617" actId="207"/>
          <ac:spMkLst>
            <pc:docMk/>
            <pc:sldMk cId="3916372632" sldId="463"/>
            <ac:spMk id="47" creationId="{411D26D5-685D-4E8B-A6B3-34FF4AF5C23B}"/>
          </ac:spMkLst>
        </pc:spChg>
        <pc:spChg chg="mod">
          <ac:chgData name="Andreas Weiss" userId="86f45389-4ad9-4ce5-aa22-b4e8edefafef" providerId="ADAL" clId="{BF97026B-F088-444A-89FB-4AB1CE25C7E5}" dt="2021-08-31T14:04:26.111" v="1617" actId="207"/>
          <ac:spMkLst>
            <pc:docMk/>
            <pc:sldMk cId="3916372632" sldId="463"/>
            <ac:spMk id="48" creationId="{E915BED1-BF5A-41C7-9B55-AB626F476693}"/>
          </ac:spMkLst>
        </pc:spChg>
        <pc:spChg chg="mod">
          <ac:chgData name="Andreas Weiss" userId="86f45389-4ad9-4ce5-aa22-b4e8edefafef" providerId="ADAL" clId="{BF97026B-F088-444A-89FB-4AB1CE25C7E5}" dt="2021-08-31T14:04:32.838" v="1618" actId="207"/>
          <ac:spMkLst>
            <pc:docMk/>
            <pc:sldMk cId="3916372632" sldId="463"/>
            <ac:spMk id="49" creationId="{5862AA1C-4326-493B-91F5-0829CF052909}"/>
          </ac:spMkLst>
        </pc:spChg>
        <pc:spChg chg="mod">
          <ac:chgData name="Andreas Weiss" userId="86f45389-4ad9-4ce5-aa22-b4e8edefafef" providerId="ADAL" clId="{BF97026B-F088-444A-89FB-4AB1CE25C7E5}" dt="2021-08-31T14:04:26.111" v="1617" actId="207"/>
          <ac:spMkLst>
            <pc:docMk/>
            <pc:sldMk cId="3916372632" sldId="463"/>
            <ac:spMk id="50" creationId="{F6BD8F1E-8420-46FA-8D23-E06F1A713112}"/>
          </ac:spMkLst>
        </pc:spChg>
        <pc:spChg chg="mod">
          <ac:chgData name="Andreas Weiss" userId="86f45389-4ad9-4ce5-aa22-b4e8edefafef" providerId="ADAL" clId="{BF97026B-F088-444A-89FB-4AB1CE25C7E5}" dt="2021-08-31T14:04:26.111" v="1617" actId="207"/>
          <ac:spMkLst>
            <pc:docMk/>
            <pc:sldMk cId="3916372632" sldId="463"/>
            <ac:spMk id="51" creationId="{1CCAB597-A2AD-40CC-8EC5-AF4DAA0ADD15}"/>
          </ac:spMkLst>
        </pc:spChg>
        <pc:spChg chg="mod">
          <ac:chgData name="Andreas Weiss" userId="86f45389-4ad9-4ce5-aa22-b4e8edefafef" providerId="ADAL" clId="{BF97026B-F088-444A-89FB-4AB1CE25C7E5}" dt="2021-08-31T14:04:26.111" v="1617" actId="207"/>
          <ac:spMkLst>
            <pc:docMk/>
            <pc:sldMk cId="3916372632" sldId="463"/>
            <ac:spMk id="52" creationId="{08D81222-2237-400B-9E00-7712F8605B64}"/>
          </ac:spMkLst>
        </pc:spChg>
        <pc:spChg chg="mod">
          <ac:chgData name="Andreas Weiss" userId="86f45389-4ad9-4ce5-aa22-b4e8edefafef" providerId="ADAL" clId="{BF97026B-F088-444A-89FB-4AB1CE25C7E5}" dt="2021-08-31T14:04:26.111" v="1617" actId="207"/>
          <ac:spMkLst>
            <pc:docMk/>
            <pc:sldMk cId="3916372632" sldId="463"/>
            <ac:spMk id="53" creationId="{CEF43410-0F63-465A-A530-C178DB364D16}"/>
          </ac:spMkLst>
        </pc:spChg>
        <pc:spChg chg="mod">
          <ac:chgData name="Andreas Weiss" userId="86f45389-4ad9-4ce5-aa22-b4e8edefafef" providerId="ADAL" clId="{BF97026B-F088-444A-89FB-4AB1CE25C7E5}" dt="2021-08-31T14:04:26.111" v="1617" actId="207"/>
          <ac:spMkLst>
            <pc:docMk/>
            <pc:sldMk cId="3916372632" sldId="463"/>
            <ac:spMk id="54" creationId="{1CDD34B9-0524-49F3-B510-767B9641BFED}"/>
          </ac:spMkLst>
        </pc:spChg>
        <pc:spChg chg="mod">
          <ac:chgData name="Andreas Weiss" userId="86f45389-4ad9-4ce5-aa22-b4e8edefafef" providerId="ADAL" clId="{BF97026B-F088-444A-89FB-4AB1CE25C7E5}" dt="2021-08-31T14:04:26.111" v="1617" actId="207"/>
          <ac:spMkLst>
            <pc:docMk/>
            <pc:sldMk cId="3916372632" sldId="463"/>
            <ac:spMk id="55" creationId="{C2BFE824-3259-4013-85B2-0314CB1E17FD}"/>
          </ac:spMkLst>
        </pc:spChg>
        <pc:spChg chg="mod">
          <ac:chgData name="Andreas Weiss" userId="86f45389-4ad9-4ce5-aa22-b4e8edefafef" providerId="ADAL" clId="{BF97026B-F088-444A-89FB-4AB1CE25C7E5}" dt="2021-08-31T14:04:26.111" v="1617" actId="207"/>
          <ac:spMkLst>
            <pc:docMk/>
            <pc:sldMk cId="3916372632" sldId="463"/>
            <ac:spMk id="56" creationId="{CBCD9FF1-5800-4873-A54B-F4B0CAEAE822}"/>
          </ac:spMkLst>
        </pc:spChg>
        <pc:spChg chg="mod">
          <ac:chgData name="Andreas Weiss" userId="86f45389-4ad9-4ce5-aa22-b4e8edefafef" providerId="ADAL" clId="{BF97026B-F088-444A-89FB-4AB1CE25C7E5}" dt="2021-08-31T14:04:26.111" v="1617" actId="207"/>
          <ac:spMkLst>
            <pc:docMk/>
            <pc:sldMk cId="3916372632" sldId="463"/>
            <ac:spMk id="57" creationId="{EC691118-A8AE-4707-89DF-A4B0D433741C}"/>
          </ac:spMkLst>
        </pc:spChg>
        <pc:spChg chg="mod">
          <ac:chgData name="Andreas Weiss" userId="86f45389-4ad9-4ce5-aa22-b4e8edefafef" providerId="ADAL" clId="{BF97026B-F088-444A-89FB-4AB1CE25C7E5}" dt="2021-08-31T14:06:18.814" v="1631"/>
          <ac:spMkLst>
            <pc:docMk/>
            <pc:sldMk cId="3916372632" sldId="463"/>
            <ac:spMk id="61" creationId="{668D8188-4E03-4939-B989-280DEFEEB498}"/>
          </ac:spMkLst>
        </pc:spChg>
        <pc:spChg chg="mod">
          <ac:chgData name="Andreas Weiss" userId="86f45389-4ad9-4ce5-aa22-b4e8edefafef" providerId="ADAL" clId="{BF97026B-F088-444A-89FB-4AB1CE25C7E5}" dt="2021-08-31T14:06:18.814" v="1631"/>
          <ac:spMkLst>
            <pc:docMk/>
            <pc:sldMk cId="3916372632" sldId="463"/>
            <ac:spMk id="62" creationId="{54411E87-3C6C-48E9-9103-4DB0165354D7}"/>
          </ac:spMkLst>
        </pc:spChg>
        <pc:spChg chg="mod">
          <ac:chgData name="Andreas Weiss" userId="86f45389-4ad9-4ce5-aa22-b4e8edefafef" providerId="ADAL" clId="{BF97026B-F088-444A-89FB-4AB1CE25C7E5}" dt="2021-08-31T14:06:18.814" v="1631"/>
          <ac:spMkLst>
            <pc:docMk/>
            <pc:sldMk cId="3916372632" sldId="463"/>
            <ac:spMk id="63" creationId="{7F474431-994D-4398-944E-535AF617C1E1}"/>
          </ac:spMkLst>
        </pc:spChg>
        <pc:spChg chg="mod">
          <ac:chgData name="Andreas Weiss" userId="86f45389-4ad9-4ce5-aa22-b4e8edefafef" providerId="ADAL" clId="{BF97026B-F088-444A-89FB-4AB1CE25C7E5}" dt="2021-08-31T14:06:18.814" v="1631"/>
          <ac:spMkLst>
            <pc:docMk/>
            <pc:sldMk cId="3916372632" sldId="463"/>
            <ac:spMk id="64" creationId="{D9A77312-E328-4D73-95AB-B75FFE4BB1CC}"/>
          </ac:spMkLst>
        </pc:spChg>
        <pc:spChg chg="mod">
          <ac:chgData name="Andreas Weiss" userId="86f45389-4ad9-4ce5-aa22-b4e8edefafef" providerId="ADAL" clId="{BF97026B-F088-444A-89FB-4AB1CE25C7E5}" dt="2021-08-31T14:06:18.814" v="1631"/>
          <ac:spMkLst>
            <pc:docMk/>
            <pc:sldMk cId="3916372632" sldId="463"/>
            <ac:spMk id="65" creationId="{075C8132-8770-4286-AA19-4FC40AAA15D3}"/>
          </ac:spMkLst>
        </pc:spChg>
        <pc:spChg chg="mod">
          <ac:chgData name="Andreas Weiss" userId="86f45389-4ad9-4ce5-aa22-b4e8edefafef" providerId="ADAL" clId="{BF97026B-F088-444A-89FB-4AB1CE25C7E5}" dt="2021-08-31T14:06:18.814" v="1631"/>
          <ac:spMkLst>
            <pc:docMk/>
            <pc:sldMk cId="3916372632" sldId="463"/>
            <ac:spMk id="66" creationId="{74ACD1F9-B463-4645-BC9F-02D56A47276D}"/>
          </ac:spMkLst>
        </pc:spChg>
        <pc:spChg chg="add mod">
          <ac:chgData name="Andreas Weiss" userId="86f45389-4ad9-4ce5-aa22-b4e8edefafef" providerId="ADAL" clId="{BF97026B-F088-444A-89FB-4AB1CE25C7E5}" dt="2021-08-31T14:13:56.391" v="1771" actId="1035"/>
          <ac:spMkLst>
            <pc:docMk/>
            <pc:sldMk cId="3916372632" sldId="463"/>
            <ac:spMk id="68" creationId="{934C3D30-DAAD-4E5E-ADBB-E04B796C111B}"/>
          </ac:spMkLst>
        </pc:spChg>
        <pc:spChg chg="add mod">
          <ac:chgData name="Andreas Weiss" userId="86f45389-4ad9-4ce5-aa22-b4e8edefafef" providerId="ADAL" clId="{BF97026B-F088-444A-89FB-4AB1CE25C7E5}" dt="2021-08-31T14:13:56.391" v="1771" actId="1035"/>
          <ac:spMkLst>
            <pc:docMk/>
            <pc:sldMk cId="3916372632" sldId="463"/>
            <ac:spMk id="69" creationId="{68AA6186-3E37-4ECB-84E2-F571DF105567}"/>
          </ac:spMkLst>
        </pc:spChg>
        <pc:spChg chg="mod">
          <ac:chgData name="Andreas Weiss" userId="86f45389-4ad9-4ce5-aa22-b4e8edefafef" providerId="ADAL" clId="{BF97026B-F088-444A-89FB-4AB1CE25C7E5}" dt="2021-08-31T14:13:25.570" v="1749" actId="207"/>
          <ac:spMkLst>
            <pc:docMk/>
            <pc:sldMk cId="3916372632" sldId="463"/>
            <ac:spMk id="71" creationId="{C4C0CC69-169F-4FCA-A0AF-62429CB14085}"/>
          </ac:spMkLst>
        </pc:spChg>
        <pc:spChg chg="mod">
          <ac:chgData name="Andreas Weiss" userId="86f45389-4ad9-4ce5-aa22-b4e8edefafef" providerId="ADAL" clId="{BF97026B-F088-444A-89FB-4AB1CE25C7E5}" dt="2021-08-31T14:12:49.837" v="1735"/>
          <ac:spMkLst>
            <pc:docMk/>
            <pc:sldMk cId="3916372632" sldId="463"/>
            <ac:spMk id="72" creationId="{D1F82F5F-7729-4D53-929A-5D8591700447}"/>
          </ac:spMkLst>
        </pc:spChg>
        <pc:spChg chg="mod">
          <ac:chgData name="Andreas Weiss" userId="86f45389-4ad9-4ce5-aa22-b4e8edefafef" providerId="ADAL" clId="{BF97026B-F088-444A-89FB-4AB1CE25C7E5}" dt="2021-08-31T14:13:29.573" v="1750" actId="207"/>
          <ac:spMkLst>
            <pc:docMk/>
            <pc:sldMk cId="3916372632" sldId="463"/>
            <ac:spMk id="73" creationId="{6943D747-DF39-480F-82AB-9E134D5FAB85}"/>
          </ac:spMkLst>
        </pc:spChg>
        <pc:spChg chg="mod">
          <ac:chgData name="Andreas Weiss" userId="86f45389-4ad9-4ce5-aa22-b4e8edefafef" providerId="ADAL" clId="{BF97026B-F088-444A-89FB-4AB1CE25C7E5}" dt="2021-08-31T14:12:49.837" v="1735"/>
          <ac:spMkLst>
            <pc:docMk/>
            <pc:sldMk cId="3916372632" sldId="463"/>
            <ac:spMk id="74" creationId="{B2A36914-5E95-44F7-96F7-2F75017D22E0}"/>
          </ac:spMkLst>
        </pc:spChg>
        <pc:spChg chg="mod">
          <ac:chgData name="Andreas Weiss" userId="86f45389-4ad9-4ce5-aa22-b4e8edefafef" providerId="ADAL" clId="{BF97026B-F088-444A-89FB-4AB1CE25C7E5}" dt="2021-08-31T14:12:49.837" v="1735"/>
          <ac:spMkLst>
            <pc:docMk/>
            <pc:sldMk cId="3916372632" sldId="463"/>
            <ac:spMk id="75" creationId="{D5F00D21-4B78-4F3E-B21E-CF32FC9D1DB8}"/>
          </ac:spMkLst>
        </pc:spChg>
        <pc:spChg chg="mod">
          <ac:chgData name="Andreas Weiss" userId="86f45389-4ad9-4ce5-aa22-b4e8edefafef" providerId="ADAL" clId="{BF97026B-F088-444A-89FB-4AB1CE25C7E5}" dt="2021-08-31T14:12:49.837" v="1735"/>
          <ac:spMkLst>
            <pc:docMk/>
            <pc:sldMk cId="3916372632" sldId="463"/>
            <ac:spMk id="76" creationId="{BE278C5D-95A8-490E-93F1-5AC9B8B9074C}"/>
          </ac:spMkLst>
        </pc:spChg>
        <pc:spChg chg="mod">
          <ac:chgData name="Andreas Weiss" userId="86f45389-4ad9-4ce5-aa22-b4e8edefafef" providerId="ADAL" clId="{BF97026B-F088-444A-89FB-4AB1CE25C7E5}" dt="2021-08-31T14:12:49.837" v="1735"/>
          <ac:spMkLst>
            <pc:docMk/>
            <pc:sldMk cId="3916372632" sldId="463"/>
            <ac:spMk id="77" creationId="{AE94041E-5C74-4F61-8355-062F303A17D1}"/>
          </ac:spMkLst>
        </pc:spChg>
        <pc:spChg chg="mod">
          <ac:chgData name="Andreas Weiss" userId="86f45389-4ad9-4ce5-aa22-b4e8edefafef" providerId="ADAL" clId="{BF97026B-F088-444A-89FB-4AB1CE25C7E5}" dt="2021-08-31T14:12:49.837" v="1735"/>
          <ac:spMkLst>
            <pc:docMk/>
            <pc:sldMk cId="3916372632" sldId="463"/>
            <ac:spMk id="78" creationId="{58801773-F53C-431D-BE8F-172AB3AC32E4}"/>
          </ac:spMkLst>
        </pc:spChg>
        <pc:grpChg chg="add del mod">
          <ac:chgData name="Andreas Weiss" userId="86f45389-4ad9-4ce5-aa22-b4e8edefafef" providerId="ADAL" clId="{BF97026B-F088-444A-89FB-4AB1CE25C7E5}" dt="2021-08-31T14:03:34.488" v="1608" actId="478"/>
          <ac:grpSpMkLst>
            <pc:docMk/>
            <pc:sldMk cId="3916372632" sldId="463"/>
            <ac:grpSpMk id="9" creationId="{371F2E79-9D0D-43F0-9266-B5BF45B18593}"/>
          </ac:grpSpMkLst>
        </pc:grpChg>
        <pc:grpChg chg="mod">
          <ac:chgData name="Andreas Weiss" userId="86f45389-4ad9-4ce5-aa22-b4e8edefafef" providerId="ADAL" clId="{BF97026B-F088-444A-89FB-4AB1CE25C7E5}" dt="2021-08-31T14:03:26.316" v="1606"/>
          <ac:grpSpMkLst>
            <pc:docMk/>
            <pc:sldMk cId="3916372632" sldId="463"/>
            <ac:grpSpMk id="14" creationId="{DBF8FBBF-A648-4E26-A895-029186190DD3}"/>
          </ac:grpSpMkLst>
        </pc:grpChg>
        <pc:grpChg chg="mod">
          <ac:chgData name="Andreas Weiss" userId="86f45389-4ad9-4ce5-aa22-b4e8edefafef" providerId="ADAL" clId="{BF97026B-F088-444A-89FB-4AB1CE25C7E5}" dt="2021-08-31T14:03:26.316" v="1606"/>
          <ac:grpSpMkLst>
            <pc:docMk/>
            <pc:sldMk cId="3916372632" sldId="463"/>
            <ac:grpSpMk id="15" creationId="{0C42479D-38E2-4B54-AF2B-1BB23769E0AA}"/>
          </ac:grpSpMkLst>
        </pc:grpChg>
        <pc:grpChg chg="add mod">
          <ac:chgData name="Andreas Weiss" userId="86f45389-4ad9-4ce5-aa22-b4e8edefafef" providerId="ADAL" clId="{BF97026B-F088-444A-89FB-4AB1CE25C7E5}" dt="2021-08-31T14:05:43.461" v="1630" actId="1076"/>
          <ac:grpSpMkLst>
            <pc:docMk/>
            <pc:sldMk cId="3916372632" sldId="463"/>
            <ac:grpSpMk id="20" creationId="{4D135A62-9416-4528-9338-1D443A59B40C}"/>
          </ac:grpSpMkLst>
        </pc:grpChg>
        <pc:grpChg chg="add mod">
          <ac:chgData name="Andreas Weiss" userId="86f45389-4ad9-4ce5-aa22-b4e8edefafef" providerId="ADAL" clId="{BF97026B-F088-444A-89FB-4AB1CE25C7E5}" dt="2021-08-31T14:05:43.461" v="1630" actId="1076"/>
          <ac:grpSpMkLst>
            <pc:docMk/>
            <pc:sldMk cId="3916372632" sldId="463"/>
            <ac:grpSpMk id="39" creationId="{C843E9C1-8512-4B36-B327-116A5F7907CF}"/>
          </ac:grpSpMkLst>
        </pc:grpChg>
        <pc:grpChg chg="add del mod ord">
          <ac:chgData name="Andreas Weiss" userId="86f45389-4ad9-4ce5-aa22-b4e8edefafef" providerId="ADAL" clId="{BF97026B-F088-444A-89FB-4AB1CE25C7E5}" dt="2021-08-31T14:07:05.369" v="1637" actId="478"/>
          <ac:grpSpMkLst>
            <pc:docMk/>
            <pc:sldMk cId="3916372632" sldId="463"/>
            <ac:grpSpMk id="58" creationId="{DDB9F9F7-A767-4B0F-9441-5A2CF8D1107A}"/>
          </ac:grpSpMkLst>
        </pc:grpChg>
        <pc:grpChg chg="mod">
          <ac:chgData name="Andreas Weiss" userId="86f45389-4ad9-4ce5-aa22-b4e8edefafef" providerId="ADAL" clId="{BF97026B-F088-444A-89FB-4AB1CE25C7E5}" dt="2021-08-31T14:06:18.814" v="1631"/>
          <ac:grpSpMkLst>
            <pc:docMk/>
            <pc:sldMk cId="3916372632" sldId="463"/>
            <ac:grpSpMk id="59" creationId="{9A763E78-7DA6-4374-9DCC-AB53DB5699F4}"/>
          </ac:grpSpMkLst>
        </pc:grpChg>
        <pc:grpChg chg="mod">
          <ac:chgData name="Andreas Weiss" userId="86f45389-4ad9-4ce5-aa22-b4e8edefafef" providerId="ADAL" clId="{BF97026B-F088-444A-89FB-4AB1CE25C7E5}" dt="2021-08-31T14:06:18.814" v="1631"/>
          <ac:grpSpMkLst>
            <pc:docMk/>
            <pc:sldMk cId="3916372632" sldId="463"/>
            <ac:grpSpMk id="60" creationId="{A8679218-39BE-47DC-951A-C1131BC510B8}"/>
          </ac:grpSpMkLst>
        </pc:grpChg>
        <pc:grpChg chg="add mod">
          <ac:chgData name="Andreas Weiss" userId="86f45389-4ad9-4ce5-aa22-b4e8edefafef" providerId="ADAL" clId="{BF97026B-F088-444A-89FB-4AB1CE25C7E5}" dt="2021-08-31T14:13:43.883" v="1751" actId="1076"/>
          <ac:grpSpMkLst>
            <pc:docMk/>
            <pc:sldMk cId="3916372632" sldId="463"/>
            <ac:grpSpMk id="70" creationId="{72E18334-5F89-4738-AFA6-E0EEC8EC9BC6}"/>
          </ac:grpSpMkLst>
        </pc:grpChg>
        <pc:picChg chg="add mod">
          <ac:chgData name="Andreas Weiss" userId="86f45389-4ad9-4ce5-aa22-b4e8edefafef" providerId="ADAL" clId="{BF97026B-F088-444A-89FB-4AB1CE25C7E5}" dt="2021-08-31T14:13:56.391" v="1771" actId="1035"/>
          <ac:picMkLst>
            <pc:docMk/>
            <pc:sldMk cId="3916372632" sldId="463"/>
            <ac:picMk id="67" creationId="{01443752-C4E3-47FF-A662-3ACA7035AFA5}"/>
          </ac:picMkLst>
        </pc:picChg>
        <pc:cxnChg chg="mod">
          <ac:chgData name="Andreas Weiss" userId="86f45389-4ad9-4ce5-aa22-b4e8edefafef" providerId="ADAL" clId="{BF97026B-F088-444A-89FB-4AB1CE25C7E5}" dt="2021-08-31T14:03:26.316" v="1606"/>
          <ac:cxnSpMkLst>
            <pc:docMk/>
            <pc:sldMk cId="3916372632" sldId="463"/>
            <ac:cxnSpMk id="13" creationId="{7DA32FA0-9690-45C9-ACA6-091DCFA1300C}"/>
          </ac:cxnSpMkLst>
        </pc:cxnChg>
      </pc:sldChg>
      <pc:sldChg chg="addSp delSp modSp mod addAnim delAnim modAnim">
        <pc:chgData name="Andreas Weiss" userId="86f45389-4ad9-4ce5-aa22-b4e8edefafef" providerId="ADAL" clId="{BF97026B-F088-444A-89FB-4AB1CE25C7E5}" dt="2021-09-06T08:28:42.426" v="7430"/>
        <pc:sldMkLst>
          <pc:docMk/>
          <pc:sldMk cId="904109772" sldId="660"/>
        </pc:sldMkLst>
        <pc:spChg chg="mod">
          <ac:chgData name="Andreas Weiss" userId="86f45389-4ad9-4ce5-aa22-b4e8edefafef" providerId="ADAL" clId="{BF97026B-F088-444A-89FB-4AB1CE25C7E5}" dt="2021-09-06T08:26:50.064" v="7347" actId="1076"/>
          <ac:spMkLst>
            <pc:docMk/>
            <pc:sldMk cId="904109772" sldId="660"/>
            <ac:spMk id="2" creationId="{00000000-0000-0000-0000-000000000000}"/>
          </ac:spMkLst>
        </pc:spChg>
        <pc:spChg chg="mod">
          <ac:chgData name="Andreas Weiss" userId="86f45389-4ad9-4ce5-aa22-b4e8edefafef" providerId="ADAL" clId="{BF97026B-F088-444A-89FB-4AB1CE25C7E5}" dt="2021-09-06T08:27:02.843" v="7375" actId="1035"/>
          <ac:spMkLst>
            <pc:docMk/>
            <pc:sldMk cId="904109772" sldId="660"/>
            <ac:spMk id="86" creationId="{00000000-0000-0000-0000-000000000000}"/>
          </ac:spMkLst>
        </pc:spChg>
        <pc:spChg chg="del">
          <ac:chgData name="Andreas Weiss" userId="86f45389-4ad9-4ce5-aa22-b4e8edefafef" providerId="ADAL" clId="{BF97026B-F088-444A-89FB-4AB1CE25C7E5}" dt="2021-08-31T12:04:06.986" v="647" actId="478"/>
          <ac:spMkLst>
            <pc:docMk/>
            <pc:sldMk cId="904109772" sldId="660"/>
            <ac:spMk id="88" creationId="{00000000-0000-0000-0000-000000000000}"/>
          </ac:spMkLst>
        </pc:spChg>
        <pc:spChg chg="mod">
          <ac:chgData name="Andreas Weiss" userId="86f45389-4ad9-4ce5-aa22-b4e8edefafef" providerId="ADAL" clId="{BF97026B-F088-444A-89FB-4AB1CE25C7E5}" dt="2021-09-06T08:28:42.426" v="7430"/>
          <ac:spMkLst>
            <pc:docMk/>
            <pc:sldMk cId="904109772" sldId="660"/>
            <ac:spMk id="101" creationId="{00000000-0000-0000-0000-000000000000}"/>
          </ac:spMkLst>
        </pc:spChg>
        <pc:spChg chg="mod">
          <ac:chgData name="Andreas Weiss" userId="86f45389-4ad9-4ce5-aa22-b4e8edefafef" providerId="ADAL" clId="{BF97026B-F088-444A-89FB-4AB1CE25C7E5}" dt="2021-09-06T08:27:11.397" v="7376" actId="14100"/>
          <ac:spMkLst>
            <pc:docMk/>
            <pc:sldMk cId="904109772" sldId="660"/>
            <ac:spMk id="102" creationId="{00000000-0000-0000-0000-000000000000}"/>
          </ac:spMkLst>
        </pc:spChg>
        <pc:spChg chg="mod">
          <ac:chgData name="Andreas Weiss" userId="86f45389-4ad9-4ce5-aa22-b4e8edefafef" providerId="ADAL" clId="{BF97026B-F088-444A-89FB-4AB1CE25C7E5}" dt="2021-09-06T08:27:02.843" v="7375" actId="1035"/>
          <ac:spMkLst>
            <pc:docMk/>
            <pc:sldMk cId="904109772" sldId="660"/>
            <ac:spMk id="116" creationId="{00000000-0000-0000-0000-000000000000}"/>
          </ac:spMkLst>
        </pc:spChg>
        <pc:spChg chg="add del mod">
          <ac:chgData name="Andreas Weiss" userId="86f45389-4ad9-4ce5-aa22-b4e8edefafef" providerId="ADAL" clId="{BF97026B-F088-444A-89FB-4AB1CE25C7E5}" dt="2021-08-31T14:31:29.848" v="2251" actId="21"/>
          <ac:spMkLst>
            <pc:docMk/>
            <pc:sldMk cId="904109772" sldId="660"/>
            <ac:spMk id="122" creationId="{4ADD129A-C58B-4757-8FBF-B6FFF2DFD845}"/>
          </ac:spMkLst>
        </pc:spChg>
        <pc:grpChg chg="add mod">
          <ac:chgData name="Andreas Weiss" userId="86f45389-4ad9-4ce5-aa22-b4e8edefafef" providerId="ADAL" clId="{BF97026B-F088-444A-89FB-4AB1CE25C7E5}" dt="2021-08-31T12:00:44.391" v="611" actId="164"/>
          <ac:grpSpMkLst>
            <pc:docMk/>
            <pc:sldMk cId="904109772" sldId="660"/>
            <ac:grpSpMk id="4" creationId="{13A3E862-3F6B-4501-8F33-4D0049895C6F}"/>
          </ac:grpSpMkLst>
        </pc:grpChg>
        <pc:grpChg chg="add del mod">
          <ac:chgData name="Andreas Weiss" userId="86f45389-4ad9-4ce5-aa22-b4e8edefafef" providerId="ADAL" clId="{BF97026B-F088-444A-89FB-4AB1CE25C7E5}" dt="2021-08-31T12:11:17.580" v="824" actId="165"/>
          <ac:grpSpMkLst>
            <pc:docMk/>
            <pc:sldMk cId="904109772" sldId="660"/>
            <ac:grpSpMk id="33" creationId="{F8E23FE2-526E-420B-AA23-A15564F1455B}"/>
          </ac:grpSpMkLst>
        </pc:grpChg>
        <pc:grpChg chg="add mod">
          <ac:chgData name="Andreas Weiss" userId="86f45389-4ad9-4ce5-aa22-b4e8edefafef" providerId="ADAL" clId="{BF97026B-F088-444A-89FB-4AB1CE25C7E5}" dt="2021-08-31T12:07:27.463" v="692" actId="164"/>
          <ac:grpSpMkLst>
            <pc:docMk/>
            <pc:sldMk cId="904109772" sldId="660"/>
            <ac:grpSpMk id="59" creationId="{269EB68C-B030-40FA-A054-E8B32D32FD18}"/>
          </ac:grpSpMkLst>
        </pc:grpChg>
        <pc:grpChg chg="add mod">
          <ac:chgData name="Andreas Weiss" userId="86f45389-4ad9-4ce5-aa22-b4e8edefafef" providerId="ADAL" clId="{BF97026B-F088-444A-89FB-4AB1CE25C7E5}" dt="2021-08-31T12:10:43.811" v="820" actId="164"/>
          <ac:grpSpMkLst>
            <pc:docMk/>
            <pc:sldMk cId="904109772" sldId="660"/>
            <ac:grpSpMk id="62" creationId="{24FFC988-E1F7-4D15-AF6D-E48B3B376B1E}"/>
          </ac:grpSpMkLst>
        </pc:grpChg>
        <pc:grpChg chg="mod">
          <ac:chgData name="Andreas Weiss" userId="86f45389-4ad9-4ce5-aa22-b4e8edefafef" providerId="ADAL" clId="{BF97026B-F088-444A-89FB-4AB1CE25C7E5}" dt="2021-09-06T08:27:22.237" v="7406" actId="1035"/>
          <ac:grpSpMkLst>
            <pc:docMk/>
            <pc:sldMk cId="904109772" sldId="660"/>
            <ac:grpSpMk id="92" creationId="{00000000-0000-0000-0000-000000000000}"/>
          </ac:grpSpMkLst>
        </pc:grpChg>
        <pc:grpChg chg="mod">
          <ac:chgData name="Andreas Weiss" userId="86f45389-4ad9-4ce5-aa22-b4e8edefafef" providerId="ADAL" clId="{BF97026B-F088-444A-89FB-4AB1CE25C7E5}" dt="2021-09-06T08:27:22.237" v="7406" actId="1035"/>
          <ac:grpSpMkLst>
            <pc:docMk/>
            <pc:sldMk cId="904109772" sldId="660"/>
            <ac:grpSpMk id="96" creationId="{00000000-0000-0000-0000-000000000000}"/>
          </ac:grpSpMkLst>
        </pc:grpChg>
        <pc:grpChg chg="add mod">
          <ac:chgData name="Andreas Weiss" userId="86f45389-4ad9-4ce5-aa22-b4e8edefafef" providerId="ADAL" clId="{BF97026B-F088-444A-89FB-4AB1CE25C7E5}" dt="2021-08-31T12:11:49.449" v="851" actId="164"/>
          <ac:grpSpMkLst>
            <pc:docMk/>
            <pc:sldMk cId="904109772" sldId="660"/>
            <ac:grpSpMk id="115" creationId="{FA1E27F1-BB94-4967-B646-8A624491AAAE}"/>
          </ac:grpSpMkLst>
        </pc:grpChg>
        <pc:grpChg chg="del">
          <ac:chgData name="Andreas Weiss" userId="86f45389-4ad9-4ce5-aa22-b4e8edefafef" providerId="ADAL" clId="{BF97026B-F088-444A-89FB-4AB1CE25C7E5}" dt="2021-08-31T12:00:10.020" v="606" actId="478"/>
          <ac:grpSpMkLst>
            <pc:docMk/>
            <pc:sldMk cId="904109772" sldId="660"/>
            <ac:grpSpMk id="123" creationId="{00000000-0000-0000-0000-000000000000}"/>
          </ac:grpSpMkLst>
        </pc:grpChg>
        <pc:grpChg chg="del mod">
          <ac:chgData name="Andreas Weiss" userId="86f45389-4ad9-4ce5-aa22-b4e8edefafef" providerId="ADAL" clId="{BF97026B-F088-444A-89FB-4AB1CE25C7E5}" dt="2021-08-31T11:59:37.788" v="600" actId="478"/>
          <ac:grpSpMkLst>
            <pc:docMk/>
            <pc:sldMk cId="904109772" sldId="660"/>
            <ac:grpSpMk id="125" creationId="{00000000-0000-0000-0000-000000000000}"/>
          </ac:grpSpMkLst>
        </pc:grpChg>
        <pc:grpChg chg="del">
          <ac:chgData name="Andreas Weiss" userId="86f45389-4ad9-4ce5-aa22-b4e8edefafef" providerId="ADAL" clId="{BF97026B-F088-444A-89FB-4AB1CE25C7E5}" dt="2021-08-31T12:09:54.137" v="803" actId="478"/>
          <ac:grpSpMkLst>
            <pc:docMk/>
            <pc:sldMk cId="904109772" sldId="660"/>
            <ac:grpSpMk id="126" creationId="{00000000-0000-0000-0000-000000000000}"/>
          </ac:grpSpMkLst>
        </pc:grpChg>
        <pc:grpChg chg="mod ord">
          <ac:chgData name="Andreas Weiss" userId="86f45389-4ad9-4ce5-aa22-b4e8edefafef" providerId="ADAL" clId="{BF97026B-F088-444A-89FB-4AB1CE25C7E5}" dt="2021-08-31T11:59:27.210" v="597" actId="167"/>
          <ac:grpSpMkLst>
            <pc:docMk/>
            <pc:sldMk cId="904109772" sldId="660"/>
            <ac:grpSpMk id="129" creationId="{00000000-0000-0000-0000-000000000000}"/>
          </ac:grpSpMkLst>
        </pc:grpChg>
        <pc:picChg chg="ord">
          <ac:chgData name="Andreas Weiss" userId="86f45389-4ad9-4ce5-aa22-b4e8edefafef" providerId="ADAL" clId="{BF97026B-F088-444A-89FB-4AB1CE25C7E5}" dt="2021-08-31T11:59:17.999" v="593" actId="167"/>
          <ac:picMkLst>
            <pc:docMk/>
            <pc:sldMk cId="904109772" sldId="660"/>
            <ac:picMk id="11" creationId="{00000000-0000-0000-0000-000000000000}"/>
          </ac:picMkLst>
        </pc:picChg>
        <pc:picChg chg="del">
          <ac:chgData name="Andreas Weiss" userId="86f45389-4ad9-4ce5-aa22-b4e8edefafef" providerId="ADAL" clId="{BF97026B-F088-444A-89FB-4AB1CE25C7E5}" dt="2021-08-31T12:06:02.013" v="669" actId="478"/>
          <ac:picMkLst>
            <pc:docMk/>
            <pc:sldMk cId="904109772" sldId="660"/>
            <ac:picMk id="20" creationId="{00000000-0000-0000-0000-000000000000}"/>
          </ac:picMkLst>
        </pc:picChg>
        <pc:picChg chg="del">
          <ac:chgData name="Andreas Weiss" userId="86f45389-4ad9-4ce5-aa22-b4e8edefafef" providerId="ADAL" clId="{BF97026B-F088-444A-89FB-4AB1CE25C7E5}" dt="2021-08-31T11:57:30.363" v="563" actId="478"/>
          <ac:picMkLst>
            <pc:docMk/>
            <pc:sldMk cId="904109772" sldId="660"/>
            <ac:picMk id="21" creationId="{00000000-0000-0000-0000-000000000000}"/>
          </ac:picMkLst>
        </pc:picChg>
        <pc:picChg chg="mod">
          <ac:chgData name="Andreas Weiss" userId="86f45389-4ad9-4ce5-aa22-b4e8edefafef" providerId="ADAL" clId="{BF97026B-F088-444A-89FB-4AB1CE25C7E5}" dt="2021-08-31T12:06:08.025" v="676" actId="1038"/>
          <ac:picMkLst>
            <pc:docMk/>
            <pc:sldMk cId="904109772" sldId="660"/>
            <ac:picMk id="27" creationId="{00000000-0000-0000-0000-000000000000}"/>
          </ac:picMkLst>
        </pc:picChg>
        <pc:picChg chg="add del ord">
          <ac:chgData name="Andreas Weiss" userId="86f45389-4ad9-4ce5-aa22-b4e8edefafef" providerId="ADAL" clId="{BF97026B-F088-444A-89FB-4AB1CE25C7E5}" dt="2021-08-31T11:59:17.999" v="593" actId="167"/>
          <ac:picMkLst>
            <pc:docMk/>
            <pc:sldMk cId="904109772" sldId="660"/>
            <ac:picMk id="49" creationId="{00000000-0000-0000-0000-000000000000}"/>
          </ac:picMkLst>
        </pc:picChg>
        <pc:picChg chg="del">
          <ac:chgData name="Andreas Weiss" userId="86f45389-4ad9-4ce5-aa22-b4e8edefafef" providerId="ADAL" clId="{BF97026B-F088-444A-89FB-4AB1CE25C7E5}" dt="2021-08-31T11:58:07.864" v="577" actId="478"/>
          <ac:picMkLst>
            <pc:docMk/>
            <pc:sldMk cId="904109772" sldId="660"/>
            <ac:picMk id="51" creationId="{00000000-0000-0000-0000-000000000000}"/>
          </ac:picMkLst>
        </pc:picChg>
        <pc:picChg chg="mod">
          <ac:chgData name="Andreas Weiss" userId="86f45389-4ad9-4ce5-aa22-b4e8edefafef" providerId="ADAL" clId="{BF97026B-F088-444A-89FB-4AB1CE25C7E5}" dt="2021-09-06T08:27:02.843" v="7375" actId="1035"/>
          <ac:picMkLst>
            <pc:docMk/>
            <pc:sldMk cId="904109772" sldId="660"/>
            <ac:picMk id="87" creationId="{00000000-0000-0000-0000-000000000000}"/>
          </ac:picMkLst>
        </pc:picChg>
        <pc:picChg chg="del">
          <ac:chgData name="Andreas Weiss" userId="86f45389-4ad9-4ce5-aa22-b4e8edefafef" providerId="ADAL" clId="{BF97026B-F088-444A-89FB-4AB1CE25C7E5}" dt="2021-08-31T12:01:24.455" v="618" actId="478"/>
          <ac:picMkLst>
            <pc:docMk/>
            <pc:sldMk cId="904109772" sldId="660"/>
            <ac:picMk id="89" creationId="{00000000-0000-0000-0000-000000000000}"/>
          </ac:picMkLst>
        </pc:picChg>
        <pc:picChg chg="del">
          <ac:chgData name="Andreas Weiss" userId="86f45389-4ad9-4ce5-aa22-b4e8edefafef" providerId="ADAL" clId="{BF97026B-F088-444A-89FB-4AB1CE25C7E5}" dt="2021-08-31T12:06:59.737" v="688" actId="478"/>
          <ac:picMkLst>
            <pc:docMk/>
            <pc:sldMk cId="904109772" sldId="660"/>
            <ac:picMk id="90" creationId="{00000000-0000-0000-0000-000000000000}"/>
          </ac:picMkLst>
        </pc:picChg>
        <pc:picChg chg="del">
          <ac:chgData name="Andreas Weiss" userId="86f45389-4ad9-4ce5-aa22-b4e8edefafef" providerId="ADAL" clId="{BF97026B-F088-444A-89FB-4AB1CE25C7E5}" dt="2021-08-31T12:10:23.866" v="816" actId="478"/>
          <ac:picMkLst>
            <pc:docMk/>
            <pc:sldMk cId="904109772" sldId="660"/>
            <ac:picMk id="91" creationId="{00000000-0000-0000-0000-000000000000}"/>
          </ac:picMkLst>
        </pc:picChg>
        <pc:picChg chg="mod">
          <ac:chgData name="Andreas Weiss" userId="86f45389-4ad9-4ce5-aa22-b4e8edefafef" providerId="ADAL" clId="{BF97026B-F088-444A-89FB-4AB1CE25C7E5}" dt="2021-09-06T08:27:28.634" v="7426" actId="1036"/>
          <ac:picMkLst>
            <pc:docMk/>
            <pc:sldMk cId="904109772" sldId="660"/>
            <ac:picMk id="100" creationId="{00000000-0000-0000-0000-000000000000}"/>
          </ac:picMkLst>
        </pc:picChg>
        <pc:picChg chg="del">
          <ac:chgData name="Andreas Weiss" userId="86f45389-4ad9-4ce5-aa22-b4e8edefafef" providerId="ADAL" clId="{BF97026B-F088-444A-89FB-4AB1CE25C7E5}" dt="2021-08-31T12:13:48.852" v="876" actId="478"/>
          <ac:picMkLst>
            <pc:docMk/>
            <pc:sldMk cId="904109772" sldId="660"/>
            <ac:picMk id="120" creationId="{00000000-0000-0000-0000-000000000000}"/>
          </ac:picMkLst>
        </pc:picChg>
        <pc:picChg chg="del mod">
          <ac:chgData name="Andreas Weiss" userId="86f45389-4ad9-4ce5-aa22-b4e8edefafef" providerId="ADAL" clId="{BF97026B-F088-444A-89FB-4AB1CE25C7E5}" dt="2021-08-31T12:13:57.582" v="880" actId="478"/>
          <ac:picMkLst>
            <pc:docMk/>
            <pc:sldMk cId="904109772" sldId="660"/>
            <ac:picMk id="131" creationId="{00000000-0000-0000-0000-000000000000}"/>
          </ac:picMkLst>
        </pc:picChg>
        <pc:picChg chg="add mod ord">
          <ac:chgData name="Andreas Weiss" userId="86f45389-4ad9-4ce5-aa22-b4e8edefafef" providerId="ADAL" clId="{BF97026B-F088-444A-89FB-4AB1CE25C7E5}" dt="2021-08-31T12:00:44.391" v="611" actId="164"/>
          <ac:picMkLst>
            <pc:docMk/>
            <pc:sldMk cId="904109772" sldId="660"/>
            <ac:picMk id="132" creationId="{317339AC-7C29-4A54-B9D9-C51219FB0B9D}"/>
          </ac:picMkLst>
        </pc:picChg>
        <pc:picChg chg="add mod">
          <ac:chgData name="Andreas Weiss" userId="86f45389-4ad9-4ce5-aa22-b4e8edefafef" providerId="ADAL" clId="{BF97026B-F088-444A-89FB-4AB1CE25C7E5}" dt="2021-08-31T12:00:44.391" v="611" actId="164"/>
          <ac:picMkLst>
            <pc:docMk/>
            <pc:sldMk cId="904109772" sldId="660"/>
            <ac:picMk id="133" creationId="{B6865579-21B8-4EFA-82F0-08CBD931BE7E}"/>
          </ac:picMkLst>
        </pc:picChg>
        <pc:picChg chg="add del mod">
          <ac:chgData name="Andreas Weiss" userId="86f45389-4ad9-4ce5-aa22-b4e8edefafef" providerId="ADAL" clId="{BF97026B-F088-444A-89FB-4AB1CE25C7E5}" dt="2021-08-31T11:57:48.359" v="573"/>
          <ac:picMkLst>
            <pc:docMk/>
            <pc:sldMk cId="904109772" sldId="660"/>
            <ac:picMk id="134" creationId="{08135827-18C2-44BB-AD9E-A21791B8EC96}"/>
          </ac:picMkLst>
        </pc:picChg>
        <pc:picChg chg="add mod">
          <ac:chgData name="Andreas Weiss" userId="86f45389-4ad9-4ce5-aa22-b4e8edefafef" providerId="ADAL" clId="{BF97026B-F088-444A-89FB-4AB1CE25C7E5}" dt="2021-08-31T12:00:44.391" v="611" actId="164"/>
          <ac:picMkLst>
            <pc:docMk/>
            <pc:sldMk cId="904109772" sldId="660"/>
            <ac:picMk id="135" creationId="{B8D0DB09-BD5B-4898-9883-68B3B35B0924}"/>
          </ac:picMkLst>
        </pc:picChg>
        <pc:picChg chg="add mod">
          <ac:chgData name="Andreas Weiss" userId="86f45389-4ad9-4ce5-aa22-b4e8edefafef" providerId="ADAL" clId="{BF97026B-F088-444A-89FB-4AB1CE25C7E5}" dt="2021-08-31T12:00:44.391" v="611" actId="164"/>
          <ac:picMkLst>
            <pc:docMk/>
            <pc:sldMk cId="904109772" sldId="660"/>
            <ac:picMk id="136" creationId="{666FF505-6025-4F55-944D-FF120FF51987}"/>
          </ac:picMkLst>
        </pc:picChg>
        <pc:picChg chg="add mod ord">
          <ac:chgData name="Andreas Weiss" userId="86f45389-4ad9-4ce5-aa22-b4e8edefafef" providerId="ADAL" clId="{BF97026B-F088-444A-89FB-4AB1CE25C7E5}" dt="2021-09-06T08:27:02.843" v="7375" actId="1035"/>
          <ac:picMkLst>
            <pc:docMk/>
            <pc:sldMk cId="904109772" sldId="660"/>
            <ac:picMk id="137" creationId="{4096F31D-1597-42AF-B9DC-BCE8D5EDDBD6}"/>
          </ac:picMkLst>
        </pc:picChg>
        <pc:picChg chg="add mod topLvl">
          <ac:chgData name="Andreas Weiss" userId="86f45389-4ad9-4ce5-aa22-b4e8edefafef" providerId="ADAL" clId="{BF97026B-F088-444A-89FB-4AB1CE25C7E5}" dt="2021-08-31T12:11:49.449" v="851" actId="164"/>
          <ac:picMkLst>
            <pc:docMk/>
            <pc:sldMk cId="904109772" sldId="660"/>
            <ac:picMk id="138" creationId="{E377E02F-80B4-4B45-856D-CD7CD6774575}"/>
          </ac:picMkLst>
        </pc:picChg>
        <pc:picChg chg="add mod topLvl">
          <ac:chgData name="Andreas Weiss" userId="86f45389-4ad9-4ce5-aa22-b4e8edefafef" providerId="ADAL" clId="{BF97026B-F088-444A-89FB-4AB1CE25C7E5}" dt="2021-08-31T12:11:49.449" v="851" actId="164"/>
          <ac:picMkLst>
            <pc:docMk/>
            <pc:sldMk cId="904109772" sldId="660"/>
            <ac:picMk id="139" creationId="{E54E6015-3153-4585-8D68-31C3D9AF445B}"/>
          </ac:picMkLst>
        </pc:picChg>
        <pc:picChg chg="add mod topLvl">
          <ac:chgData name="Andreas Weiss" userId="86f45389-4ad9-4ce5-aa22-b4e8edefafef" providerId="ADAL" clId="{BF97026B-F088-444A-89FB-4AB1CE25C7E5}" dt="2021-08-31T12:11:49.449" v="851" actId="164"/>
          <ac:picMkLst>
            <pc:docMk/>
            <pc:sldMk cId="904109772" sldId="660"/>
            <ac:picMk id="140" creationId="{1DD55A58-CC35-4885-86DF-5B65E11B1DDB}"/>
          </ac:picMkLst>
        </pc:picChg>
        <pc:picChg chg="add mod topLvl">
          <ac:chgData name="Andreas Weiss" userId="86f45389-4ad9-4ce5-aa22-b4e8edefafef" providerId="ADAL" clId="{BF97026B-F088-444A-89FB-4AB1CE25C7E5}" dt="2021-08-31T12:11:49.449" v="851" actId="164"/>
          <ac:picMkLst>
            <pc:docMk/>
            <pc:sldMk cId="904109772" sldId="660"/>
            <ac:picMk id="141" creationId="{294EFD1C-C732-4C7D-9969-E2CDE4BF49FF}"/>
          </ac:picMkLst>
        </pc:picChg>
        <pc:picChg chg="add mod topLvl">
          <ac:chgData name="Andreas Weiss" userId="86f45389-4ad9-4ce5-aa22-b4e8edefafef" providerId="ADAL" clId="{BF97026B-F088-444A-89FB-4AB1CE25C7E5}" dt="2021-08-31T12:11:49.449" v="851" actId="164"/>
          <ac:picMkLst>
            <pc:docMk/>
            <pc:sldMk cId="904109772" sldId="660"/>
            <ac:picMk id="142" creationId="{182D0288-F094-44C3-B789-DFA2242586F1}"/>
          </ac:picMkLst>
        </pc:picChg>
        <pc:picChg chg="add mod ord">
          <ac:chgData name="Andreas Weiss" userId="86f45389-4ad9-4ce5-aa22-b4e8edefafef" providerId="ADAL" clId="{BF97026B-F088-444A-89FB-4AB1CE25C7E5}" dt="2021-09-06T08:27:02.843" v="7375" actId="1035"/>
          <ac:picMkLst>
            <pc:docMk/>
            <pc:sldMk cId="904109772" sldId="660"/>
            <ac:picMk id="143" creationId="{293C1641-25CE-427C-864E-1DFBE2293916}"/>
          </ac:picMkLst>
        </pc:picChg>
        <pc:picChg chg="add mod">
          <ac:chgData name="Andreas Weiss" userId="86f45389-4ad9-4ce5-aa22-b4e8edefafef" providerId="ADAL" clId="{BF97026B-F088-444A-89FB-4AB1CE25C7E5}" dt="2021-08-31T12:07:27.463" v="692" actId="164"/>
          <ac:picMkLst>
            <pc:docMk/>
            <pc:sldMk cId="904109772" sldId="660"/>
            <ac:picMk id="144" creationId="{20A5B79D-8E0D-4A2F-A2A8-5D103316CA10}"/>
          </ac:picMkLst>
        </pc:picChg>
        <pc:picChg chg="add mod">
          <ac:chgData name="Andreas Weiss" userId="86f45389-4ad9-4ce5-aa22-b4e8edefafef" providerId="ADAL" clId="{BF97026B-F088-444A-89FB-4AB1CE25C7E5}" dt="2021-08-31T12:07:27.463" v="692" actId="164"/>
          <ac:picMkLst>
            <pc:docMk/>
            <pc:sldMk cId="904109772" sldId="660"/>
            <ac:picMk id="145" creationId="{2B985651-3B90-4F90-83CE-0F796F761F6D}"/>
          </ac:picMkLst>
        </pc:picChg>
        <pc:picChg chg="add mod">
          <ac:chgData name="Andreas Weiss" userId="86f45389-4ad9-4ce5-aa22-b4e8edefafef" providerId="ADAL" clId="{BF97026B-F088-444A-89FB-4AB1CE25C7E5}" dt="2021-09-06T08:27:02.843" v="7375" actId="1035"/>
          <ac:picMkLst>
            <pc:docMk/>
            <pc:sldMk cId="904109772" sldId="660"/>
            <ac:picMk id="146" creationId="{8A39D2E9-BAC7-44D8-A8E6-D8D9DDCD5E1E}"/>
          </ac:picMkLst>
        </pc:picChg>
        <pc:picChg chg="add mod">
          <ac:chgData name="Andreas Weiss" userId="86f45389-4ad9-4ce5-aa22-b4e8edefafef" providerId="ADAL" clId="{BF97026B-F088-444A-89FB-4AB1CE25C7E5}" dt="2021-08-31T12:10:43.811" v="820" actId="164"/>
          <ac:picMkLst>
            <pc:docMk/>
            <pc:sldMk cId="904109772" sldId="660"/>
            <ac:picMk id="147" creationId="{AA257A45-BCC0-48F4-A4F5-46A3FFB245E8}"/>
          </ac:picMkLst>
        </pc:picChg>
        <pc:picChg chg="add mod">
          <ac:chgData name="Andreas Weiss" userId="86f45389-4ad9-4ce5-aa22-b4e8edefafef" providerId="ADAL" clId="{BF97026B-F088-444A-89FB-4AB1CE25C7E5}" dt="2021-08-31T12:10:43.811" v="820" actId="164"/>
          <ac:picMkLst>
            <pc:docMk/>
            <pc:sldMk cId="904109772" sldId="660"/>
            <ac:picMk id="148" creationId="{94ABF90A-569E-4E6D-A752-C20B2E9C5896}"/>
          </ac:picMkLst>
        </pc:picChg>
        <pc:picChg chg="add mod">
          <ac:chgData name="Andreas Weiss" userId="86f45389-4ad9-4ce5-aa22-b4e8edefafef" providerId="ADAL" clId="{BF97026B-F088-444A-89FB-4AB1CE25C7E5}" dt="2021-08-31T12:10:43.811" v="820" actId="164"/>
          <ac:picMkLst>
            <pc:docMk/>
            <pc:sldMk cId="904109772" sldId="660"/>
            <ac:picMk id="149" creationId="{7C1E9169-0EA4-41AF-B883-7824AF803D23}"/>
          </ac:picMkLst>
        </pc:picChg>
        <pc:picChg chg="add mod">
          <ac:chgData name="Andreas Weiss" userId="86f45389-4ad9-4ce5-aa22-b4e8edefafef" providerId="ADAL" clId="{BF97026B-F088-444A-89FB-4AB1CE25C7E5}" dt="2021-08-31T12:10:43.811" v="820" actId="164"/>
          <ac:picMkLst>
            <pc:docMk/>
            <pc:sldMk cId="904109772" sldId="660"/>
            <ac:picMk id="150" creationId="{F750B994-49AE-4823-AF28-9B7ED6456DD8}"/>
          </ac:picMkLst>
        </pc:picChg>
        <pc:picChg chg="add mod">
          <ac:chgData name="Andreas Weiss" userId="86f45389-4ad9-4ce5-aa22-b4e8edefafef" providerId="ADAL" clId="{BF97026B-F088-444A-89FB-4AB1CE25C7E5}" dt="2021-08-31T12:10:43.811" v="820" actId="164"/>
          <ac:picMkLst>
            <pc:docMk/>
            <pc:sldMk cId="904109772" sldId="660"/>
            <ac:picMk id="151" creationId="{438D44D1-AF9E-4540-B020-FFB572B28950}"/>
          </ac:picMkLst>
        </pc:picChg>
        <pc:picChg chg="add mod">
          <ac:chgData name="Andreas Weiss" userId="86f45389-4ad9-4ce5-aa22-b4e8edefafef" providerId="ADAL" clId="{BF97026B-F088-444A-89FB-4AB1CE25C7E5}" dt="2021-08-31T12:10:43.811" v="820" actId="164"/>
          <ac:picMkLst>
            <pc:docMk/>
            <pc:sldMk cId="904109772" sldId="660"/>
            <ac:picMk id="152" creationId="{7FA4CDBD-A772-4908-808E-E3FE02C9F357}"/>
          </ac:picMkLst>
        </pc:picChg>
        <pc:picChg chg="add mod">
          <ac:chgData name="Andreas Weiss" userId="86f45389-4ad9-4ce5-aa22-b4e8edefafef" providerId="ADAL" clId="{BF97026B-F088-444A-89FB-4AB1CE25C7E5}" dt="2021-08-31T12:10:43.811" v="820" actId="164"/>
          <ac:picMkLst>
            <pc:docMk/>
            <pc:sldMk cId="904109772" sldId="660"/>
            <ac:picMk id="153" creationId="{69594E0E-422B-4B0D-8794-FC7C85CE0CFE}"/>
          </ac:picMkLst>
        </pc:picChg>
        <pc:picChg chg="add mod">
          <ac:chgData name="Andreas Weiss" userId="86f45389-4ad9-4ce5-aa22-b4e8edefafef" providerId="ADAL" clId="{BF97026B-F088-444A-89FB-4AB1CE25C7E5}" dt="2021-08-31T12:10:43.811" v="820" actId="164"/>
          <ac:picMkLst>
            <pc:docMk/>
            <pc:sldMk cId="904109772" sldId="660"/>
            <ac:picMk id="154" creationId="{5D796CEA-55D2-42D2-BDCC-7F15722CC5BD}"/>
          </ac:picMkLst>
        </pc:picChg>
        <pc:picChg chg="add del mod ord">
          <ac:chgData name="Andreas Weiss" userId="86f45389-4ad9-4ce5-aa22-b4e8edefafef" providerId="ADAL" clId="{BF97026B-F088-444A-89FB-4AB1CE25C7E5}" dt="2021-09-06T08:27:02.843" v="7375" actId="1035"/>
          <ac:picMkLst>
            <pc:docMk/>
            <pc:sldMk cId="904109772" sldId="660"/>
            <ac:picMk id="155" creationId="{EEABCF07-55C5-4836-9197-562C6E594BA3}"/>
          </ac:picMkLst>
        </pc:picChg>
        <pc:picChg chg="add mod">
          <ac:chgData name="Andreas Weiss" userId="86f45389-4ad9-4ce5-aa22-b4e8edefafef" providerId="ADAL" clId="{BF97026B-F088-444A-89FB-4AB1CE25C7E5}" dt="2021-08-31T12:13:51.639" v="877" actId="1076"/>
          <ac:picMkLst>
            <pc:docMk/>
            <pc:sldMk cId="904109772" sldId="660"/>
            <ac:picMk id="156" creationId="{1BCA55B2-3C2D-4FD1-B061-71669929E8F0}"/>
          </ac:picMkLst>
        </pc:picChg>
        <pc:picChg chg="add mod">
          <ac:chgData name="Andreas Weiss" userId="86f45389-4ad9-4ce5-aa22-b4e8edefafef" providerId="ADAL" clId="{BF97026B-F088-444A-89FB-4AB1CE25C7E5}" dt="2021-09-06T08:27:02.843" v="7375" actId="1035"/>
          <ac:picMkLst>
            <pc:docMk/>
            <pc:sldMk cId="904109772" sldId="660"/>
            <ac:picMk id="157" creationId="{1837959E-C2C9-4CDB-98DC-DF751EC8EA49}"/>
          </ac:picMkLst>
        </pc:picChg>
        <pc:cxnChg chg="mod">
          <ac:chgData name="Andreas Weiss" userId="86f45389-4ad9-4ce5-aa22-b4e8edefafef" providerId="ADAL" clId="{BF97026B-F088-444A-89FB-4AB1CE25C7E5}" dt="2021-08-31T11:57:30.363" v="563" actId="478"/>
          <ac:cxnSpMkLst>
            <pc:docMk/>
            <pc:sldMk cId="904109772" sldId="660"/>
            <ac:cxnSpMk id="130" creationId="{00000000-0000-0000-0000-000000000000}"/>
          </ac:cxnSpMkLst>
        </pc:cxnChg>
      </pc:sldChg>
      <pc:sldChg chg="add del">
        <pc:chgData name="Andreas Weiss" userId="86f45389-4ad9-4ce5-aa22-b4e8edefafef" providerId="ADAL" clId="{BF97026B-F088-444A-89FB-4AB1CE25C7E5}" dt="2021-08-31T12:24:49.827" v="1032" actId="47"/>
        <pc:sldMkLst>
          <pc:docMk/>
          <pc:sldMk cId="659295619" sldId="661"/>
        </pc:sldMkLst>
      </pc:sldChg>
      <pc:sldChg chg="addSp delSp modSp new mod ord delCm">
        <pc:chgData name="Andreas Weiss" userId="86f45389-4ad9-4ce5-aa22-b4e8edefafef" providerId="ADAL" clId="{BF97026B-F088-444A-89FB-4AB1CE25C7E5}" dt="2021-09-06T06:56:20.015" v="7056"/>
        <pc:sldMkLst>
          <pc:docMk/>
          <pc:sldMk cId="1754242523" sldId="661"/>
        </pc:sldMkLst>
        <pc:spChg chg="del">
          <ac:chgData name="Andreas Weiss" userId="86f45389-4ad9-4ce5-aa22-b4e8edefafef" providerId="ADAL" clId="{BF97026B-F088-444A-89FB-4AB1CE25C7E5}" dt="2021-08-31T13:01:00.124" v="1597" actId="478"/>
          <ac:spMkLst>
            <pc:docMk/>
            <pc:sldMk cId="1754242523" sldId="661"/>
            <ac:spMk id="2" creationId="{7568044A-8867-48DB-A1D0-2DAFE25AE354}"/>
          </ac:spMkLst>
        </pc:spChg>
        <pc:spChg chg="mod">
          <ac:chgData name="Andreas Weiss" userId="86f45389-4ad9-4ce5-aa22-b4e8edefafef" providerId="ADAL" clId="{BF97026B-F088-444A-89FB-4AB1CE25C7E5}" dt="2021-09-02T12:16:35.437" v="2674" actId="1076"/>
          <ac:spMkLst>
            <pc:docMk/>
            <pc:sldMk cId="1754242523" sldId="661"/>
            <ac:spMk id="3" creationId="{97063AE9-EE84-4169-A9CD-2017575FF12B}"/>
          </ac:spMkLst>
        </pc:spChg>
        <pc:spChg chg="del">
          <ac:chgData name="Andreas Weiss" userId="86f45389-4ad9-4ce5-aa22-b4e8edefafef" providerId="ADAL" clId="{BF97026B-F088-444A-89FB-4AB1CE25C7E5}" dt="2021-08-31T13:01:00.124" v="1597" actId="478"/>
          <ac:spMkLst>
            <pc:docMk/>
            <pc:sldMk cId="1754242523" sldId="661"/>
            <ac:spMk id="4" creationId="{F50C4AA5-B18C-499F-A379-F14BE013BDA5}"/>
          </ac:spMkLst>
        </pc:spChg>
        <pc:spChg chg="del mod">
          <ac:chgData name="Andreas Weiss" userId="86f45389-4ad9-4ce5-aa22-b4e8edefafef" providerId="ADAL" clId="{BF97026B-F088-444A-89FB-4AB1CE25C7E5}" dt="2021-08-31T14:23:32.089" v="2125" actId="478"/>
          <ac:spMkLst>
            <pc:docMk/>
            <pc:sldMk cId="1754242523" sldId="661"/>
            <ac:spMk id="5" creationId="{01B78680-4F9A-4C7A-B287-AF187924E9CF}"/>
          </ac:spMkLst>
        </pc:spChg>
        <pc:spChg chg="del mod">
          <ac:chgData name="Andreas Weiss" userId="86f45389-4ad9-4ce5-aa22-b4e8edefafef" providerId="ADAL" clId="{BF97026B-F088-444A-89FB-4AB1CE25C7E5}" dt="2021-08-31T14:16:25.231" v="1776" actId="478"/>
          <ac:spMkLst>
            <pc:docMk/>
            <pc:sldMk cId="1754242523" sldId="661"/>
            <ac:spMk id="8" creationId="{5104F249-E354-4A63-A3F8-86BFAC29F9DC}"/>
          </ac:spMkLst>
        </pc:spChg>
        <pc:spChg chg="del mod topLvl">
          <ac:chgData name="Andreas Weiss" userId="86f45389-4ad9-4ce5-aa22-b4e8edefafef" providerId="ADAL" clId="{BF97026B-F088-444A-89FB-4AB1CE25C7E5}" dt="2021-08-31T14:17:51.464" v="1792" actId="478"/>
          <ac:spMkLst>
            <pc:docMk/>
            <pc:sldMk cId="1754242523" sldId="661"/>
            <ac:spMk id="12" creationId="{49CA82AF-AE0C-4E47-85C4-EA3405BC346B}"/>
          </ac:spMkLst>
        </pc:spChg>
        <pc:spChg chg="add mod">
          <ac:chgData name="Andreas Weiss" userId="86f45389-4ad9-4ce5-aa22-b4e8edefafef" providerId="ADAL" clId="{BF97026B-F088-444A-89FB-4AB1CE25C7E5}" dt="2021-09-02T08:32:28.830" v="2439" actId="404"/>
          <ac:spMkLst>
            <pc:docMk/>
            <pc:sldMk cId="1754242523" sldId="661"/>
            <ac:spMk id="14" creationId="{25154EF5-48D1-4833-A8B2-E10DF4D4B21F}"/>
          </ac:spMkLst>
        </pc:spChg>
        <pc:spChg chg="add mod">
          <ac:chgData name="Andreas Weiss" userId="86f45389-4ad9-4ce5-aa22-b4e8edefafef" providerId="ADAL" clId="{BF97026B-F088-444A-89FB-4AB1CE25C7E5}" dt="2021-08-31T14:33:26.743" v="2412" actId="6549"/>
          <ac:spMkLst>
            <pc:docMk/>
            <pc:sldMk cId="1754242523" sldId="661"/>
            <ac:spMk id="15" creationId="{C8D1856C-9C08-4947-B921-29EBFB82BF3E}"/>
          </ac:spMkLst>
        </pc:spChg>
        <pc:spChg chg="add mod">
          <ac:chgData name="Andreas Weiss" userId="86f45389-4ad9-4ce5-aa22-b4e8edefafef" providerId="ADAL" clId="{BF97026B-F088-444A-89FB-4AB1CE25C7E5}" dt="2021-08-31T14:33:18.054" v="2398" actId="6549"/>
          <ac:spMkLst>
            <pc:docMk/>
            <pc:sldMk cId="1754242523" sldId="661"/>
            <ac:spMk id="16" creationId="{E177F465-09A4-47A0-9E43-CB09C8E5AECC}"/>
          </ac:spMkLst>
        </pc:spChg>
        <pc:spChg chg="add del mod">
          <ac:chgData name="Andreas Weiss" userId="86f45389-4ad9-4ce5-aa22-b4e8edefafef" providerId="ADAL" clId="{BF97026B-F088-444A-89FB-4AB1CE25C7E5}" dt="2021-08-31T14:21:39.222" v="1948" actId="478"/>
          <ac:spMkLst>
            <pc:docMk/>
            <pc:sldMk cId="1754242523" sldId="661"/>
            <ac:spMk id="17" creationId="{FCB57A8F-EB2D-4C33-8533-A75D286DB574}"/>
          </ac:spMkLst>
        </pc:spChg>
        <pc:spChg chg="add mod">
          <ac:chgData name="Andreas Weiss" userId="86f45389-4ad9-4ce5-aa22-b4e8edefafef" providerId="ADAL" clId="{BF97026B-F088-444A-89FB-4AB1CE25C7E5}" dt="2021-08-31T14:33:07.950" v="2384" actId="122"/>
          <ac:spMkLst>
            <pc:docMk/>
            <pc:sldMk cId="1754242523" sldId="661"/>
            <ac:spMk id="18" creationId="{597A47AB-B516-4E1D-A093-D66299BF1004}"/>
          </ac:spMkLst>
        </pc:spChg>
        <pc:spChg chg="add mod">
          <ac:chgData name="Andreas Weiss" userId="86f45389-4ad9-4ce5-aa22-b4e8edefafef" providerId="ADAL" clId="{BF97026B-F088-444A-89FB-4AB1CE25C7E5}" dt="2021-09-06T06:49:48.949" v="7009" actId="6549"/>
          <ac:spMkLst>
            <pc:docMk/>
            <pc:sldMk cId="1754242523" sldId="661"/>
            <ac:spMk id="19" creationId="{672C3AF2-DE54-49B8-BD48-2F30FE8E171D}"/>
          </ac:spMkLst>
        </pc:spChg>
        <pc:grpChg chg="add del mod">
          <ac:chgData name="Andreas Weiss" userId="86f45389-4ad9-4ce5-aa22-b4e8edefafef" providerId="ADAL" clId="{BF97026B-F088-444A-89FB-4AB1CE25C7E5}" dt="2021-08-31T14:16:31.711" v="1777" actId="165"/>
          <ac:grpSpMkLst>
            <pc:docMk/>
            <pc:sldMk cId="1754242523" sldId="661"/>
            <ac:grpSpMk id="7" creationId="{65906B75-C19B-47EB-9BE3-6C2B7CCF1549}"/>
          </ac:grpSpMkLst>
        </pc:grpChg>
        <pc:grpChg chg="del mod topLvl">
          <ac:chgData name="Andreas Weiss" userId="86f45389-4ad9-4ce5-aa22-b4e8edefafef" providerId="ADAL" clId="{BF97026B-F088-444A-89FB-4AB1CE25C7E5}" dt="2021-08-31T14:17:51.464" v="1792" actId="478"/>
          <ac:grpSpMkLst>
            <pc:docMk/>
            <pc:sldMk cId="1754242523" sldId="661"/>
            <ac:grpSpMk id="10" creationId="{8624990A-19AA-41A5-B0E3-822EDBF62134}"/>
          </ac:grpSpMkLst>
        </pc:grpChg>
        <pc:graphicFrameChg chg="add del mod">
          <ac:chgData name="Andreas Weiss" userId="86f45389-4ad9-4ce5-aa22-b4e8edefafef" providerId="ADAL" clId="{BF97026B-F088-444A-89FB-4AB1CE25C7E5}" dt="2021-08-31T14:28:05.520" v="2248" actId="478"/>
          <ac:graphicFrameMkLst>
            <pc:docMk/>
            <pc:sldMk cId="1754242523" sldId="661"/>
            <ac:graphicFrameMk id="13" creationId="{BAD361C9-EEC2-407A-B1ED-49057697F70E}"/>
          </ac:graphicFrameMkLst>
        </pc:graphicFrameChg>
        <pc:picChg chg="add mod">
          <ac:chgData name="Andreas Weiss" userId="86f45389-4ad9-4ce5-aa22-b4e8edefafef" providerId="ADAL" clId="{BF97026B-F088-444A-89FB-4AB1CE25C7E5}" dt="2021-08-31T14:18:01.579" v="1794" actId="12789"/>
          <ac:picMkLst>
            <pc:docMk/>
            <pc:sldMk cId="1754242523" sldId="661"/>
            <ac:picMk id="4" creationId="{9E5A2233-6110-4119-B794-6CB700FB324A}"/>
          </ac:picMkLst>
        </pc:picChg>
        <pc:picChg chg="add mod">
          <ac:chgData name="Andreas Weiss" userId="86f45389-4ad9-4ce5-aa22-b4e8edefafef" providerId="ADAL" clId="{BF97026B-F088-444A-89FB-4AB1CE25C7E5}" dt="2021-08-31T14:18:01.579" v="1794" actId="12789"/>
          <ac:picMkLst>
            <pc:docMk/>
            <pc:sldMk cId="1754242523" sldId="661"/>
            <ac:picMk id="6" creationId="{95966881-9A47-47E1-A92C-A4F688FA9993}"/>
          </ac:picMkLst>
        </pc:picChg>
        <pc:picChg chg="mod topLvl">
          <ac:chgData name="Andreas Weiss" userId="86f45389-4ad9-4ce5-aa22-b4e8edefafef" providerId="ADAL" clId="{BF97026B-F088-444A-89FB-4AB1CE25C7E5}" dt="2021-08-31T14:18:01.579" v="1794" actId="12789"/>
          <ac:picMkLst>
            <pc:docMk/>
            <pc:sldMk cId="1754242523" sldId="661"/>
            <ac:picMk id="9" creationId="{6E594464-D61C-40C0-B5FE-ED9C8004CF75}"/>
          </ac:picMkLst>
        </pc:picChg>
        <pc:picChg chg="mod topLvl">
          <ac:chgData name="Andreas Weiss" userId="86f45389-4ad9-4ce5-aa22-b4e8edefafef" providerId="ADAL" clId="{BF97026B-F088-444A-89FB-4AB1CE25C7E5}" dt="2021-08-31T14:18:01.579" v="1794" actId="12789"/>
          <ac:picMkLst>
            <pc:docMk/>
            <pc:sldMk cId="1754242523" sldId="661"/>
            <ac:picMk id="11" creationId="{D505C987-BD89-49CF-BC1E-BFF3D163C21A}"/>
          </ac:picMkLst>
        </pc:picChg>
      </pc:sldChg>
      <pc:sldChg chg="addSp delSp modSp add mod delAnim modAnim">
        <pc:chgData name="Andreas Weiss" userId="86f45389-4ad9-4ce5-aa22-b4e8edefafef" providerId="ADAL" clId="{BF97026B-F088-444A-89FB-4AB1CE25C7E5}" dt="2021-09-06T08:04:06.172" v="7243" actId="21"/>
        <pc:sldMkLst>
          <pc:docMk/>
          <pc:sldMk cId="586919712" sldId="662"/>
        </pc:sldMkLst>
        <pc:spChg chg="add mod">
          <ac:chgData name="Andreas Weiss" userId="86f45389-4ad9-4ce5-aa22-b4e8edefafef" providerId="ADAL" clId="{BF97026B-F088-444A-89FB-4AB1CE25C7E5}" dt="2021-09-06T07:14:14.186" v="7092" actId="1037"/>
          <ac:spMkLst>
            <pc:docMk/>
            <pc:sldMk cId="586919712" sldId="662"/>
            <ac:spMk id="3" creationId="{4DAD47AC-0E42-49E9-8AD4-2FDE47E8E546}"/>
          </ac:spMkLst>
        </pc:spChg>
        <pc:spChg chg="del">
          <ac:chgData name="Andreas Weiss" userId="86f45389-4ad9-4ce5-aa22-b4e8edefafef" providerId="ADAL" clId="{BF97026B-F088-444A-89FB-4AB1CE25C7E5}" dt="2021-09-06T07:02:48.347" v="7063" actId="478"/>
          <ac:spMkLst>
            <pc:docMk/>
            <pc:sldMk cId="586919712" sldId="662"/>
            <ac:spMk id="4" creationId="{1AB02CFF-AC20-42CC-97FD-2575EF4DCFAE}"/>
          </ac:spMkLst>
        </pc:spChg>
        <pc:spChg chg="mod">
          <ac:chgData name="Andreas Weiss" userId="86f45389-4ad9-4ce5-aa22-b4e8edefafef" providerId="ADAL" clId="{BF97026B-F088-444A-89FB-4AB1CE25C7E5}" dt="2021-09-06T07:02:52.703" v="7064" actId="6549"/>
          <ac:spMkLst>
            <pc:docMk/>
            <pc:sldMk cId="586919712" sldId="662"/>
            <ac:spMk id="5" creationId="{00000000-0000-0000-0000-000000000000}"/>
          </ac:spMkLst>
        </pc:spChg>
        <pc:spChg chg="mod">
          <ac:chgData name="Andreas Weiss" userId="86f45389-4ad9-4ce5-aa22-b4e8edefafef" providerId="ADAL" clId="{BF97026B-F088-444A-89FB-4AB1CE25C7E5}" dt="2021-09-06T07:16:43.763" v="7133" actId="20577"/>
          <ac:spMkLst>
            <pc:docMk/>
            <pc:sldMk cId="586919712" sldId="662"/>
            <ac:spMk id="6" creationId="{00000000-0000-0000-0000-000000000000}"/>
          </ac:spMkLst>
        </pc:spChg>
        <pc:spChg chg="mod">
          <ac:chgData name="Andreas Weiss" userId="86f45389-4ad9-4ce5-aa22-b4e8edefafef" providerId="ADAL" clId="{BF97026B-F088-444A-89FB-4AB1CE25C7E5}" dt="2021-09-06T08:04:06.172" v="7243" actId="21"/>
          <ac:spMkLst>
            <pc:docMk/>
            <pc:sldMk cId="586919712" sldId="662"/>
            <ac:spMk id="7" creationId="{00000000-0000-0000-0000-000000000000}"/>
          </ac:spMkLst>
        </pc:spChg>
        <pc:spChg chg="del">
          <ac:chgData name="Andreas Weiss" userId="86f45389-4ad9-4ce5-aa22-b4e8edefafef" providerId="ADAL" clId="{BF97026B-F088-444A-89FB-4AB1CE25C7E5}" dt="2021-09-06T07:02:48.347" v="7063" actId="478"/>
          <ac:spMkLst>
            <pc:docMk/>
            <pc:sldMk cId="586919712" sldId="662"/>
            <ac:spMk id="9" creationId="{69535785-3C3E-49A4-9112-DD7971D5191E}"/>
          </ac:spMkLst>
        </pc:spChg>
        <pc:spChg chg="del">
          <ac:chgData name="Andreas Weiss" userId="86f45389-4ad9-4ce5-aa22-b4e8edefafef" providerId="ADAL" clId="{BF97026B-F088-444A-89FB-4AB1CE25C7E5}" dt="2021-09-06T07:02:48.347" v="7063" actId="478"/>
          <ac:spMkLst>
            <pc:docMk/>
            <pc:sldMk cId="586919712" sldId="662"/>
            <ac:spMk id="11" creationId="{4E24EAD6-E815-4D2B-ABDC-22AD7EE89B16}"/>
          </ac:spMkLst>
        </pc:spChg>
        <pc:spChg chg="add mod">
          <ac:chgData name="Andreas Weiss" userId="86f45389-4ad9-4ce5-aa22-b4e8edefafef" providerId="ADAL" clId="{BF97026B-F088-444A-89FB-4AB1CE25C7E5}" dt="2021-09-06T07:13:27.670" v="7081" actId="164"/>
          <ac:spMkLst>
            <pc:docMk/>
            <pc:sldMk cId="586919712" sldId="662"/>
            <ac:spMk id="12" creationId="{E4A265CF-431E-42E8-A2B7-D006043C29F4}"/>
          </ac:spMkLst>
        </pc:spChg>
        <pc:spChg chg="add mod">
          <ac:chgData name="Andreas Weiss" userId="86f45389-4ad9-4ce5-aa22-b4e8edefafef" providerId="ADAL" clId="{BF97026B-F088-444A-89FB-4AB1CE25C7E5}" dt="2021-09-06T07:13:27.670" v="7081" actId="164"/>
          <ac:spMkLst>
            <pc:docMk/>
            <pc:sldMk cId="586919712" sldId="662"/>
            <ac:spMk id="13" creationId="{66ECA6E9-A9E8-4FF0-8B59-2C1A5DD33D3D}"/>
          </ac:spMkLst>
        </pc:spChg>
        <pc:spChg chg="add mod">
          <ac:chgData name="Andreas Weiss" userId="86f45389-4ad9-4ce5-aa22-b4e8edefafef" providerId="ADAL" clId="{BF97026B-F088-444A-89FB-4AB1CE25C7E5}" dt="2021-09-06T07:13:27.670" v="7081" actId="164"/>
          <ac:spMkLst>
            <pc:docMk/>
            <pc:sldMk cId="586919712" sldId="662"/>
            <ac:spMk id="14" creationId="{E774D688-A0F4-414B-9832-E6346F854207}"/>
          </ac:spMkLst>
        </pc:spChg>
        <pc:spChg chg="add mod">
          <ac:chgData name="Andreas Weiss" userId="86f45389-4ad9-4ce5-aa22-b4e8edefafef" providerId="ADAL" clId="{BF97026B-F088-444A-89FB-4AB1CE25C7E5}" dt="2021-09-06T07:13:27.670" v="7081" actId="164"/>
          <ac:spMkLst>
            <pc:docMk/>
            <pc:sldMk cId="586919712" sldId="662"/>
            <ac:spMk id="15" creationId="{06104B4C-D3C5-4D74-8592-8CB70DC52479}"/>
          </ac:spMkLst>
        </pc:spChg>
        <pc:spChg chg="add mod">
          <ac:chgData name="Andreas Weiss" userId="86f45389-4ad9-4ce5-aa22-b4e8edefafef" providerId="ADAL" clId="{BF97026B-F088-444A-89FB-4AB1CE25C7E5}" dt="2021-09-06T07:13:27.670" v="7081" actId="164"/>
          <ac:spMkLst>
            <pc:docMk/>
            <pc:sldMk cId="586919712" sldId="662"/>
            <ac:spMk id="16" creationId="{B68894CC-3101-459E-91C5-EF7298A5D344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8" creationId="{FA3CFF45-CB0D-4B70-A2AF-59ED64DA2F43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9" creationId="{DC920A8C-2F45-4563-90A7-DB468CF1108B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20" creationId="{73BCDBE8-5631-4E71-AC7E-D9DF77F25716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21" creationId="{1C824910-A28D-412E-B6EA-25FCD1BB34FD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22" creationId="{407368FB-E83A-4A3A-AB11-8D61F86B137F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23" creationId="{8093FF8D-3FA1-45F0-BDE5-857FB9A4425A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24" creationId="{5397D29C-34D9-45E9-A71A-F27321126207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25" creationId="{2670CF7E-CF9F-481B-AF92-402205E75CED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27" creationId="{9CA24D9F-3804-4771-B814-B37C57771E9B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28" creationId="{1ED00D2A-DA2A-492E-9730-765A1C4395D3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29" creationId="{FB3E3EB1-8AFB-4776-B2B2-FDD282B44D21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30" creationId="{DDE5FDD4-BEE1-4121-B890-8C8678187BAA}"/>
          </ac:spMkLst>
        </pc:spChg>
        <pc:spChg chg="add mod">
          <ac:chgData name="Andreas Weiss" userId="86f45389-4ad9-4ce5-aa22-b4e8edefafef" providerId="ADAL" clId="{BF97026B-F088-444A-89FB-4AB1CE25C7E5}" dt="2021-09-06T07:13:27.670" v="7081" actId="164"/>
          <ac:spMkLst>
            <pc:docMk/>
            <pc:sldMk cId="586919712" sldId="662"/>
            <ac:spMk id="31" creationId="{85402C55-EC91-45BC-8BB4-8CFFDF37B506}"/>
          </ac:spMkLst>
        </pc:spChg>
        <pc:spChg chg="add mod">
          <ac:chgData name="Andreas Weiss" userId="86f45389-4ad9-4ce5-aa22-b4e8edefafef" providerId="ADAL" clId="{BF97026B-F088-444A-89FB-4AB1CE25C7E5}" dt="2021-09-06T07:13:27.670" v="7081" actId="164"/>
          <ac:spMkLst>
            <pc:docMk/>
            <pc:sldMk cId="586919712" sldId="662"/>
            <ac:spMk id="32" creationId="{70153F73-6EE9-44FF-ABCB-05A6A92F17FD}"/>
          </ac:spMkLst>
        </pc:spChg>
        <pc:spChg chg="add mod">
          <ac:chgData name="Andreas Weiss" userId="86f45389-4ad9-4ce5-aa22-b4e8edefafef" providerId="ADAL" clId="{BF97026B-F088-444A-89FB-4AB1CE25C7E5}" dt="2021-09-06T07:13:27.670" v="7081" actId="164"/>
          <ac:spMkLst>
            <pc:docMk/>
            <pc:sldMk cId="586919712" sldId="662"/>
            <ac:spMk id="33" creationId="{408B7717-9EA3-46CD-B6B3-F77DE534A61C}"/>
          </ac:spMkLst>
        </pc:spChg>
        <pc:spChg chg="add mod">
          <ac:chgData name="Andreas Weiss" userId="86f45389-4ad9-4ce5-aa22-b4e8edefafef" providerId="ADAL" clId="{BF97026B-F088-444A-89FB-4AB1CE25C7E5}" dt="2021-09-06T07:13:27.670" v="7081" actId="164"/>
          <ac:spMkLst>
            <pc:docMk/>
            <pc:sldMk cId="586919712" sldId="662"/>
            <ac:spMk id="34" creationId="{66F1E73D-4CB3-4E13-838F-E8EA4DFE61BE}"/>
          </ac:spMkLst>
        </pc:spChg>
        <pc:spChg chg="add mod">
          <ac:chgData name="Andreas Weiss" userId="86f45389-4ad9-4ce5-aa22-b4e8edefafef" providerId="ADAL" clId="{BF97026B-F088-444A-89FB-4AB1CE25C7E5}" dt="2021-09-06T07:13:27.670" v="7081" actId="164"/>
          <ac:spMkLst>
            <pc:docMk/>
            <pc:sldMk cId="586919712" sldId="662"/>
            <ac:spMk id="35" creationId="{27A3AE03-50F3-46E1-BDE7-3405E0101394}"/>
          </ac:spMkLst>
        </pc:spChg>
        <pc:spChg chg="add mod">
          <ac:chgData name="Andreas Weiss" userId="86f45389-4ad9-4ce5-aa22-b4e8edefafef" providerId="ADAL" clId="{BF97026B-F088-444A-89FB-4AB1CE25C7E5}" dt="2021-09-06T07:13:27.670" v="7081" actId="164"/>
          <ac:spMkLst>
            <pc:docMk/>
            <pc:sldMk cId="586919712" sldId="662"/>
            <ac:spMk id="36" creationId="{9DBFF009-6E16-42BD-B051-9492A2893FAB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38" creationId="{F5BD41A7-7DFE-4602-9D47-84512BD65D53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39" creationId="{45A91EA3-BF26-4CC6-8F40-BDA49B30E040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48" creationId="{8D3ACFE5-D51D-45D4-A72E-AEA84E1C975D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49" creationId="{4BE15D58-986D-4544-853E-1056AF6943BE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56" creationId="{DE101590-5EA9-428E-80A1-0FD49D9BCDE6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57" creationId="{AD5232F9-4200-4FD2-8A6B-FF4993DC979F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95" creationId="{90F1DAA8-447E-4B31-A9B9-6992BCAA881E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96" creationId="{D5407182-1820-4334-B576-EACDF3856635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99" creationId="{2E942A73-E7C9-438D-A868-74CEADF675C3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00" creationId="{FBDDC0B0-A808-426B-B71B-3D9D780AA169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01" creationId="{559C046B-B68E-4864-B749-6B0340D50505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02" creationId="{58BB7532-B2F0-40EA-AD12-953A49300C07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03" creationId="{E2146789-5C27-4E56-9E0E-946BCC01332A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04" creationId="{14A91E17-A4F5-4897-B398-4DA089881F61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05" creationId="{46866871-9DAB-4F7F-9946-2606ED85A7B8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06" creationId="{2C711925-6DF2-4C66-8244-468AE362D67A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16" creationId="{596911D3-60F3-4672-B5AD-223DEC7F9E57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17" creationId="{0BF7FF37-DE9B-4345-B17A-D6C881F45586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20" creationId="{DDEC69C8-E51A-4BA0-B975-77569475B05C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21" creationId="{A7B5061D-1795-441A-87B7-F29CBC11E657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22" creationId="{A9C49CFD-08A2-47AA-886B-9AEACC0D6570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23" creationId="{B3373367-E2E5-4078-8049-60C4C172A530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24" creationId="{6E2428FD-CF46-470A-BA07-419B75164726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25" creationId="{7DBC704E-71B0-41BD-AF99-90B1D5EF63F9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26" creationId="{6BB73246-2461-41D3-871C-2DB44F453FBE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27" creationId="{5D586546-E498-43FD-9C29-4C27F6F54819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37" creationId="{52449D0F-E461-4828-AAF8-E239EF177DF8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38" creationId="{DC691E12-C024-4623-9B0E-0ADE1E79101A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41" creationId="{99627A4C-D64F-4CA3-A3D0-21600F3ECB27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42" creationId="{5ACB5D70-A8D5-4173-AD18-230C2E83014B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43" creationId="{D10C5724-C42A-4B46-B20A-352B99B28596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44" creationId="{06DFF760-060F-4016-9C8C-A060E2A58A6A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45" creationId="{5DA9266D-6DF0-4F71-B69C-006CAD0AFCD1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46" creationId="{9C19AA30-7605-429E-9CA7-C43208B8E4A1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47" creationId="{AD51C2C3-944B-42EF-86AA-361940928F3A}"/>
          </ac:spMkLst>
        </pc:spChg>
        <pc:spChg chg="mod">
          <ac:chgData name="Andreas Weiss" userId="86f45389-4ad9-4ce5-aa22-b4e8edefafef" providerId="ADAL" clId="{BF97026B-F088-444A-89FB-4AB1CE25C7E5}" dt="2021-09-06T07:12:39.789" v="7073"/>
          <ac:spMkLst>
            <pc:docMk/>
            <pc:sldMk cId="586919712" sldId="662"/>
            <ac:spMk id="148" creationId="{9A4C9DCF-1044-4E14-9FA5-35E1D397D239}"/>
          </ac:spMkLst>
        </pc:spChg>
        <pc:grpChg chg="add mod">
          <ac:chgData name="Andreas Weiss" userId="86f45389-4ad9-4ce5-aa22-b4e8edefafef" providerId="ADAL" clId="{BF97026B-F088-444A-89FB-4AB1CE25C7E5}" dt="2021-09-06T07:13:27.670" v="7081" actId="164"/>
          <ac:grpSpMkLst>
            <pc:docMk/>
            <pc:sldMk cId="586919712" sldId="662"/>
            <ac:grpSpMk id="17" creationId="{5D44B2FD-7576-412D-BBE0-590832C4F3C7}"/>
          </ac:grpSpMkLst>
        </pc:grpChg>
        <pc:grpChg chg="add mod">
          <ac:chgData name="Andreas Weiss" userId="86f45389-4ad9-4ce5-aa22-b4e8edefafef" providerId="ADAL" clId="{BF97026B-F088-444A-89FB-4AB1CE25C7E5}" dt="2021-09-06T07:13:27.670" v="7081" actId="164"/>
          <ac:grpSpMkLst>
            <pc:docMk/>
            <pc:sldMk cId="586919712" sldId="662"/>
            <ac:grpSpMk id="26" creationId="{1F2CE085-701E-451A-8E6F-CDDE92B2F775}"/>
          </ac:grpSpMkLst>
        </pc:grpChg>
        <pc:grpChg chg="add mod">
          <ac:chgData name="Andreas Weiss" userId="86f45389-4ad9-4ce5-aa22-b4e8edefafef" providerId="ADAL" clId="{BF97026B-F088-444A-89FB-4AB1CE25C7E5}" dt="2021-09-06T07:13:27.670" v="7081" actId="164"/>
          <ac:grpSpMkLst>
            <pc:docMk/>
            <pc:sldMk cId="586919712" sldId="662"/>
            <ac:grpSpMk id="37" creationId="{65D3FE9B-88C8-49BC-BEE2-4A39EDEFF65F}"/>
          </ac:grpSpMkLst>
        </pc:grpChg>
        <pc:grpChg chg="add mod">
          <ac:chgData name="Andreas Weiss" userId="86f45389-4ad9-4ce5-aa22-b4e8edefafef" providerId="ADAL" clId="{BF97026B-F088-444A-89FB-4AB1CE25C7E5}" dt="2021-09-06T07:13:27.670" v="7081" actId="164"/>
          <ac:grpSpMkLst>
            <pc:docMk/>
            <pc:sldMk cId="586919712" sldId="662"/>
            <ac:grpSpMk id="47" creationId="{86A1E4AB-D110-4567-BF7A-D5F33EA8DCB1}"/>
          </ac:grpSpMkLst>
        </pc:grpChg>
        <pc:grpChg chg="add mod">
          <ac:chgData name="Andreas Weiss" userId="86f45389-4ad9-4ce5-aa22-b4e8edefafef" providerId="ADAL" clId="{BF97026B-F088-444A-89FB-4AB1CE25C7E5}" dt="2021-09-06T07:13:27.670" v="7081" actId="164"/>
          <ac:grpSpMkLst>
            <pc:docMk/>
            <pc:sldMk cId="586919712" sldId="662"/>
            <ac:grpSpMk id="55" creationId="{B2D81AE8-C998-4ABE-99EB-789A96726920}"/>
          </ac:grpSpMkLst>
        </pc:grpChg>
        <pc:grpChg chg="add mod">
          <ac:chgData name="Andreas Weiss" userId="86f45389-4ad9-4ce5-aa22-b4e8edefafef" providerId="ADAL" clId="{BF97026B-F088-444A-89FB-4AB1CE25C7E5}" dt="2021-09-06T07:13:27.670" v="7081" actId="164"/>
          <ac:grpSpMkLst>
            <pc:docMk/>
            <pc:sldMk cId="586919712" sldId="662"/>
            <ac:grpSpMk id="73" creationId="{7C47E887-14C6-465B-82BE-53F71F20D483}"/>
          </ac:grpSpMkLst>
        </pc:grpChg>
        <pc:grpChg chg="add mod">
          <ac:chgData name="Andreas Weiss" userId="86f45389-4ad9-4ce5-aa22-b4e8edefafef" providerId="ADAL" clId="{BF97026B-F088-444A-89FB-4AB1CE25C7E5}" dt="2021-09-06T07:13:27.670" v="7081" actId="164"/>
          <ac:grpSpMkLst>
            <pc:docMk/>
            <pc:sldMk cId="586919712" sldId="662"/>
            <ac:grpSpMk id="79" creationId="{104537F2-0F03-440A-AB4A-D3753BD0F88B}"/>
          </ac:grpSpMkLst>
        </pc:grpChg>
        <pc:grpChg chg="add mod">
          <ac:chgData name="Andreas Weiss" userId="86f45389-4ad9-4ce5-aa22-b4e8edefafef" providerId="ADAL" clId="{BF97026B-F088-444A-89FB-4AB1CE25C7E5}" dt="2021-09-06T07:13:27.670" v="7081" actId="164"/>
          <ac:grpSpMkLst>
            <pc:docMk/>
            <pc:sldMk cId="586919712" sldId="662"/>
            <ac:grpSpMk id="86" creationId="{A314783C-7500-45EA-8A33-0E566C82D402}"/>
          </ac:grpSpMkLst>
        </pc:grpChg>
        <pc:grpChg chg="mod">
          <ac:chgData name="Andreas Weiss" userId="86f45389-4ad9-4ce5-aa22-b4e8edefafef" providerId="ADAL" clId="{BF97026B-F088-444A-89FB-4AB1CE25C7E5}" dt="2021-09-06T07:12:39.789" v="7073"/>
          <ac:grpSpMkLst>
            <pc:docMk/>
            <pc:sldMk cId="586919712" sldId="662"/>
            <ac:grpSpMk id="87" creationId="{71036C1B-E993-434B-9E21-ABE003D635CC}"/>
          </ac:grpSpMkLst>
        </pc:grpChg>
        <pc:grpChg chg="mod">
          <ac:chgData name="Andreas Weiss" userId="86f45389-4ad9-4ce5-aa22-b4e8edefafef" providerId="ADAL" clId="{BF97026B-F088-444A-89FB-4AB1CE25C7E5}" dt="2021-09-06T07:12:39.789" v="7073"/>
          <ac:grpSpMkLst>
            <pc:docMk/>
            <pc:sldMk cId="586919712" sldId="662"/>
            <ac:grpSpMk id="88" creationId="{FBC057EC-A600-47FA-93F7-C610D362CFDB}"/>
          </ac:grpSpMkLst>
        </pc:grpChg>
        <pc:grpChg chg="mod">
          <ac:chgData name="Andreas Weiss" userId="86f45389-4ad9-4ce5-aa22-b4e8edefafef" providerId="ADAL" clId="{BF97026B-F088-444A-89FB-4AB1CE25C7E5}" dt="2021-09-06T07:12:39.789" v="7073"/>
          <ac:grpSpMkLst>
            <pc:docMk/>
            <pc:sldMk cId="586919712" sldId="662"/>
            <ac:grpSpMk id="89" creationId="{92EA0741-54BB-4F94-AC19-CC7F5D4207EB}"/>
          </ac:grpSpMkLst>
        </pc:grpChg>
        <pc:grpChg chg="mod">
          <ac:chgData name="Andreas Weiss" userId="86f45389-4ad9-4ce5-aa22-b4e8edefafef" providerId="ADAL" clId="{BF97026B-F088-444A-89FB-4AB1CE25C7E5}" dt="2021-09-06T07:12:39.789" v="7073"/>
          <ac:grpSpMkLst>
            <pc:docMk/>
            <pc:sldMk cId="586919712" sldId="662"/>
            <ac:grpSpMk id="94" creationId="{B5D1D8AE-9015-4037-B22A-9C0EC07157FE}"/>
          </ac:grpSpMkLst>
        </pc:grpChg>
        <pc:grpChg chg="add mod">
          <ac:chgData name="Andreas Weiss" userId="86f45389-4ad9-4ce5-aa22-b4e8edefafef" providerId="ADAL" clId="{BF97026B-F088-444A-89FB-4AB1CE25C7E5}" dt="2021-09-06T07:13:27.670" v="7081" actId="164"/>
          <ac:grpSpMkLst>
            <pc:docMk/>
            <pc:sldMk cId="586919712" sldId="662"/>
            <ac:grpSpMk id="107" creationId="{142C11A6-64C7-49E4-8BC2-6B3759655F97}"/>
          </ac:grpSpMkLst>
        </pc:grpChg>
        <pc:grpChg chg="mod">
          <ac:chgData name="Andreas Weiss" userId="86f45389-4ad9-4ce5-aa22-b4e8edefafef" providerId="ADAL" clId="{BF97026B-F088-444A-89FB-4AB1CE25C7E5}" dt="2021-09-06T07:12:39.789" v="7073"/>
          <ac:grpSpMkLst>
            <pc:docMk/>
            <pc:sldMk cId="586919712" sldId="662"/>
            <ac:grpSpMk id="108" creationId="{BDC70CAE-9351-40C1-B349-7E003FA39E9F}"/>
          </ac:grpSpMkLst>
        </pc:grpChg>
        <pc:grpChg chg="mod">
          <ac:chgData name="Andreas Weiss" userId="86f45389-4ad9-4ce5-aa22-b4e8edefafef" providerId="ADAL" clId="{BF97026B-F088-444A-89FB-4AB1CE25C7E5}" dt="2021-09-06T07:12:39.789" v="7073"/>
          <ac:grpSpMkLst>
            <pc:docMk/>
            <pc:sldMk cId="586919712" sldId="662"/>
            <ac:grpSpMk id="109" creationId="{BD7EC38B-CF1C-412F-8BB0-0363B87AC104}"/>
          </ac:grpSpMkLst>
        </pc:grpChg>
        <pc:grpChg chg="mod">
          <ac:chgData name="Andreas Weiss" userId="86f45389-4ad9-4ce5-aa22-b4e8edefafef" providerId="ADAL" clId="{BF97026B-F088-444A-89FB-4AB1CE25C7E5}" dt="2021-09-06T07:12:39.789" v="7073"/>
          <ac:grpSpMkLst>
            <pc:docMk/>
            <pc:sldMk cId="586919712" sldId="662"/>
            <ac:grpSpMk id="110" creationId="{02D20282-C333-41B4-B5E4-EF4EF56CE6C0}"/>
          </ac:grpSpMkLst>
        </pc:grpChg>
        <pc:grpChg chg="mod">
          <ac:chgData name="Andreas Weiss" userId="86f45389-4ad9-4ce5-aa22-b4e8edefafef" providerId="ADAL" clId="{BF97026B-F088-444A-89FB-4AB1CE25C7E5}" dt="2021-09-06T07:12:39.789" v="7073"/>
          <ac:grpSpMkLst>
            <pc:docMk/>
            <pc:sldMk cId="586919712" sldId="662"/>
            <ac:grpSpMk id="115" creationId="{9CB654EA-AF57-4A3A-B3FB-F23EE55E9264}"/>
          </ac:grpSpMkLst>
        </pc:grpChg>
        <pc:grpChg chg="add mod">
          <ac:chgData name="Andreas Weiss" userId="86f45389-4ad9-4ce5-aa22-b4e8edefafef" providerId="ADAL" clId="{BF97026B-F088-444A-89FB-4AB1CE25C7E5}" dt="2021-09-06T07:13:27.670" v="7081" actId="164"/>
          <ac:grpSpMkLst>
            <pc:docMk/>
            <pc:sldMk cId="586919712" sldId="662"/>
            <ac:grpSpMk id="128" creationId="{5D9F45EB-780A-4676-B111-4EDA82E077D1}"/>
          </ac:grpSpMkLst>
        </pc:grpChg>
        <pc:grpChg chg="mod">
          <ac:chgData name="Andreas Weiss" userId="86f45389-4ad9-4ce5-aa22-b4e8edefafef" providerId="ADAL" clId="{BF97026B-F088-444A-89FB-4AB1CE25C7E5}" dt="2021-09-06T07:12:39.789" v="7073"/>
          <ac:grpSpMkLst>
            <pc:docMk/>
            <pc:sldMk cId="586919712" sldId="662"/>
            <ac:grpSpMk id="129" creationId="{21BEF47A-415A-4481-B807-C83C8FA7FF09}"/>
          </ac:grpSpMkLst>
        </pc:grpChg>
        <pc:grpChg chg="mod">
          <ac:chgData name="Andreas Weiss" userId="86f45389-4ad9-4ce5-aa22-b4e8edefafef" providerId="ADAL" clId="{BF97026B-F088-444A-89FB-4AB1CE25C7E5}" dt="2021-09-06T07:12:39.789" v="7073"/>
          <ac:grpSpMkLst>
            <pc:docMk/>
            <pc:sldMk cId="586919712" sldId="662"/>
            <ac:grpSpMk id="130" creationId="{7E71A8E3-35E0-478A-A77E-9C2BB6B01549}"/>
          </ac:grpSpMkLst>
        </pc:grpChg>
        <pc:grpChg chg="mod">
          <ac:chgData name="Andreas Weiss" userId="86f45389-4ad9-4ce5-aa22-b4e8edefafef" providerId="ADAL" clId="{BF97026B-F088-444A-89FB-4AB1CE25C7E5}" dt="2021-09-06T07:12:39.789" v="7073"/>
          <ac:grpSpMkLst>
            <pc:docMk/>
            <pc:sldMk cId="586919712" sldId="662"/>
            <ac:grpSpMk id="131" creationId="{8C9AC13E-85E1-4992-B528-DDC2DA3C061C}"/>
          </ac:grpSpMkLst>
        </pc:grpChg>
        <pc:grpChg chg="mod">
          <ac:chgData name="Andreas Weiss" userId="86f45389-4ad9-4ce5-aa22-b4e8edefafef" providerId="ADAL" clId="{BF97026B-F088-444A-89FB-4AB1CE25C7E5}" dt="2021-09-06T07:12:39.789" v="7073"/>
          <ac:grpSpMkLst>
            <pc:docMk/>
            <pc:sldMk cId="586919712" sldId="662"/>
            <ac:grpSpMk id="136" creationId="{B757F2CD-F56B-425D-9544-8A1A66B8EB69}"/>
          </ac:grpSpMkLst>
        </pc:grpChg>
        <pc:grpChg chg="add mod">
          <ac:chgData name="Andreas Weiss" userId="86f45389-4ad9-4ce5-aa22-b4e8edefafef" providerId="ADAL" clId="{BF97026B-F088-444A-89FB-4AB1CE25C7E5}" dt="2021-09-06T07:14:02.348" v="7087" actId="12789"/>
          <ac:grpSpMkLst>
            <pc:docMk/>
            <pc:sldMk cId="586919712" sldId="662"/>
            <ac:grpSpMk id="149" creationId="{3237D684-B336-4068-925D-5B8FDA86DCC1}"/>
          </ac:grpSpMkLst>
        </pc:grpChg>
        <pc:graphicFrameChg chg="del">
          <ac:chgData name="Andreas Weiss" userId="86f45389-4ad9-4ce5-aa22-b4e8edefafef" providerId="ADAL" clId="{BF97026B-F088-444A-89FB-4AB1CE25C7E5}" dt="2021-09-06T07:02:48.347" v="7063" actId="478"/>
          <ac:graphicFrameMkLst>
            <pc:docMk/>
            <pc:sldMk cId="586919712" sldId="662"/>
            <ac:graphicFrameMk id="2" creationId="{3E22EC5C-AF74-49CE-875C-C34E67ADD210}"/>
          </ac:graphicFrameMkLst>
        </pc:graphicFrameChg>
        <pc:picChg chg="add mod">
          <ac:chgData name="Andreas Weiss" userId="86f45389-4ad9-4ce5-aa22-b4e8edefafef" providerId="ADAL" clId="{BF97026B-F088-444A-89FB-4AB1CE25C7E5}" dt="2021-09-06T07:14:02.348" v="7087" actId="12789"/>
          <ac:picMkLst>
            <pc:docMk/>
            <pc:sldMk cId="586919712" sldId="662"/>
            <ac:picMk id="10" creationId="{DF4850EC-A418-4751-9C30-D68575415A4B}"/>
          </ac:picMkLst>
        </pc:picChg>
        <pc:picChg chg="add mod">
          <ac:chgData name="Andreas Weiss" userId="86f45389-4ad9-4ce5-aa22-b4e8edefafef" providerId="ADAL" clId="{BF97026B-F088-444A-89FB-4AB1CE25C7E5}" dt="2021-09-06T07:13:27.670" v="7081" actId="164"/>
          <ac:picMkLst>
            <pc:docMk/>
            <pc:sldMk cId="586919712" sldId="662"/>
            <ac:picMk id="45" creationId="{A659CAEC-5307-4FD1-9905-C682932C4798}"/>
          </ac:picMkLst>
        </pc:picChg>
        <pc:picChg chg="add mod">
          <ac:chgData name="Andreas Weiss" userId="86f45389-4ad9-4ce5-aa22-b4e8edefafef" providerId="ADAL" clId="{BF97026B-F088-444A-89FB-4AB1CE25C7E5}" dt="2021-09-06T07:13:27.670" v="7081" actId="164"/>
          <ac:picMkLst>
            <pc:docMk/>
            <pc:sldMk cId="586919712" sldId="662"/>
            <ac:picMk id="46" creationId="{F2D42110-1F29-4CC7-BEC7-930502B811C7}"/>
          </ac:picMkLst>
        </pc:picChg>
        <pc:picChg chg="add mod">
          <ac:chgData name="Andreas Weiss" userId="86f45389-4ad9-4ce5-aa22-b4e8edefafef" providerId="ADAL" clId="{BF97026B-F088-444A-89FB-4AB1CE25C7E5}" dt="2021-09-06T07:13:27.670" v="7081" actId="164"/>
          <ac:picMkLst>
            <pc:docMk/>
            <pc:sldMk cId="586919712" sldId="662"/>
            <ac:picMk id="63" creationId="{86DC4157-A477-4A0C-B821-74E09D5B105C}"/>
          </ac:picMkLst>
        </pc:picChg>
        <pc:picChg chg="add mod">
          <ac:chgData name="Andreas Weiss" userId="86f45389-4ad9-4ce5-aa22-b4e8edefafef" providerId="ADAL" clId="{BF97026B-F088-444A-89FB-4AB1CE25C7E5}" dt="2021-09-06T07:13:27.670" v="7081" actId="164"/>
          <ac:picMkLst>
            <pc:docMk/>
            <pc:sldMk cId="586919712" sldId="662"/>
            <ac:picMk id="64" creationId="{C5086F82-2FB5-4E7F-86C6-7A2CB97DBDA6}"/>
          </ac:picMkLst>
        </pc:picChg>
        <pc:picChg chg="add mod">
          <ac:chgData name="Andreas Weiss" userId="86f45389-4ad9-4ce5-aa22-b4e8edefafef" providerId="ADAL" clId="{BF97026B-F088-444A-89FB-4AB1CE25C7E5}" dt="2021-09-06T07:13:27.670" v="7081" actId="164"/>
          <ac:picMkLst>
            <pc:docMk/>
            <pc:sldMk cId="586919712" sldId="662"/>
            <ac:picMk id="65" creationId="{2B79A765-1853-48A6-97E7-90FB04752A0D}"/>
          </ac:picMkLst>
        </pc:picChg>
        <pc:picChg chg="add mod">
          <ac:chgData name="Andreas Weiss" userId="86f45389-4ad9-4ce5-aa22-b4e8edefafef" providerId="ADAL" clId="{BF97026B-F088-444A-89FB-4AB1CE25C7E5}" dt="2021-09-06T07:13:27.670" v="7081" actId="164"/>
          <ac:picMkLst>
            <pc:docMk/>
            <pc:sldMk cId="586919712" sldId="662"/>
            <ac:picMk id="66" creationId="{7D18183B-DA95-4A47-A904-69B09CF4A563}"/>
          </ac:picMkLst>
        </pc:picChg>
        <pc:picChg chg="add mod">
          <ac:chgData name="Andreas Weiss" userId="86f45389-4ad9-4ce5-aa22-b4e8edefafef" providerId="ADAL" clId="{BF97026B-F088-444A-89FB-4AB1CE25C7E5}" dt="2021-09-06T07:13:27.670" v="7081" actId="164"/>
          <ac:picMkLst>
            <pc:docMk/>
            <pc:sldMk cId="586919712" sldId="662"/>
            <ac:picMk id="67" creationId="{2EC838C9-55AF-4702-8899-1E703C4E930A}"/>
          </ac:picMkLst>
        </pc:picChg>
        <pc:picChg chg="add mod">
          <ac:chgData name="Andreas Weiss" userId="86f45389-4ad9-4ce5-aa22-b4e8edefafef" providerId="ADAL" clId="{BF97026B-F088-444A-89FB-4AB1CE25C7E5}" dt="2021-09-06T07:13:27.670" v="7081" actId="164"/>
          <ac:picMkLst>
            <pc:docMk/>
            <pc:sldMk cId="586919712" sldId="662"/>
            <ac:picMk id="68" creationId="{B3E89C0E-3FE6-4453-A784-71B20FCFD006}"/>
          </ac:picMkLst>
        </pc:picChg>
        <pc:picChg chg="add mod">
          <ac:chgData name="Andreas Weiss" userId="86f45389-4ad9-4ce5-aa22-b4e8edefafef" providerId="ADAL" clId="{BF97026B-F088-444A-89FB-4AB1CE25C7E5}" dt="2021-09-06T07:13:27.670" v="7081" actId="164"/>
          <ac:picMkLst>
            <pc:docMk/>
            <pc:sldMk cId="586919712" sldId="662"/>
            <ac:picMk id="69" creationId="{C24DBC1A-BB57-4D65-87FD-9C242EB1C953}"/>
          </ac:picMkLst>
        </pc:picChg>
        <pc:picChg chg="add mod">
          <ac:chgData name="Andreas Weiss" userId="86f45389-4ad9-4ce5-aa22-b4e8edefafef" providerId="ADAL" clId="{BF97026B-F088-444A-89FB-4AB1CE25C7E5}" dt="2021-09-06T07:13:27.670" v="7081" actId="164"/>
          <ac:picMkLst>
            <pc:docMk/>
            <pc:sldMk cId="586919712" sldId="662"/>
            <ac:picMk id="70" creationId="{461999DB-EEC1-4D4B-844C-AEFB2A21C073}"/>
          </ac:picMkLst>
        </pc:picChg>
        <pc:picChg chg="add mod">
          <ac:chgData name="Andreas Weiss" userId="86f45389-4ad9-4ce5-aa22-b4e8edefafef" providerId="ADAL" clId="{BF97026B-F088-444A-89FB-4AB1CE25C7E5}" dt="2021-09-06T07:13:27.670" v="7081" actId="164"/>
          <ac:picMkLst>
            <pc:docMk/>
            <pc:sldMk cId="586919712" sldId="662"/>
            <ac:picMk id="71" creationId="{3CB4626A-C888-4A3E-BFBC-56765E376A0B}"/>
          </ac:picMkLst>
        </pc:picChg>
        <pc:picChg chg="add mod">
          <ac:chgData name="Andreas Weiss" userId="86f45389-4ad9-4ce5-aa22-b4e8edefafef" providerId="ADAL" clId="{BF97026B-F088-444A-89FB-4AB1CE25C7E5}" dt="2021-09-06T07:13:27.670" v="7081" actId="164"/>
          <ac:picMkLst>
            <pc:docMk/>
            <pc:sldMk cId="586919712" sldId="662"/>
            <ac:picMk id="72" creationId="{3721E87D-E032-4831-BEAB-9D2C685D3964}"/>
          </ac:picMkLst>
        </pc:picChg>
        <pc:picChg chg="mod">
          <ac:chgData name="Andreas Weiss" userId="86f45389-4ad9-4ce5-aa22-b4e8edefafef" providerId="ADAL" clId="{BF97026B-F088-444A-89FB-4AB1CE25C7E5}" dt="2021-09-06T07:12:39.789" v="7073"/>
          <ac:picMkLst>
            <pc:docMk/>
            <pc:sldMk cId="586919712" sldId="662"/>
            <ac:picMk id="74" creationId="{5B785B34-7863-41B0-8CA2-C80349DF477B}"/>
          </ac:picMkLst>
        </pc:picChg>
        <pc:picChg chg="mod">
          <ac:chgData name="Andreas Weiss" userId="86f45389-4ad9-4ce5-aa22-b4e8edefafef" providerId="ADAL" clId="{BF97026B-F088-444A-89FB-4AB1CE25C7E5}" dt="2021-09-06T07:12:39.789" v="7073"/>
          <ac:picMkLst>
            <pc:docMk/>
            <pc:sldMk cId="586919712" sldId="662"/>
            <ac:picMk id="75" creationId="{E4B2C070-6B3C-495B-B402-90C102B2C774}"/>
          </ac:picMkLst>
        </pc:picChg>
        <pc:picChg chg="mod">
          <ac:chgData name="Andreas Weiss" userId="86f45389-4ad9-4ce5-aa22-b4e8edefafef" providerId="ADAL" clId="{BF97026B-F088-444A-89FB-4AB1CE25C7E5}" dt="2021-09-06T07:12:39.789" v="7073"/>
          <ac:picMkLst>
            <pc:docMk/>
            <pc:sldMk cId="586919712" sldId="662"/>
            <ac:picMk id="76" creationId="{9F26B329-6034-4FA5-8E3F-DCB6A400EF48}"/>
          </ac:picMkLst>
        </pc:picChg>
        <pc:picChg chg="mod">
          <ac:chgData name="Andreas Weiss" userId="86f45389-4ad9-4ce5-aa22-b4e8edefafef" providerId="ADAL" clId="{BF97026B-F088-444A-89FB-4AB1CE25C7E5}" dt="2021-09-06T07:12:39.789" v="7073"/>
          <ac:picMkLst>
            <pc:docMk/>
            <pc:sldMk cId="586919712" sldId="662"/>
            <ac:picMk id="77" creationId="{7D4B5D2D-5AF6-4E32-9710-F43332210A8C}"/>
          </ac:picMkLst>
        </pc:picChg>
        <pc:picChg chg="mod">
          <ac:chgData name="Andreas Weiss" userId="86f45389-4ad9-4ce5-aa22-b4e8edefafef" providerId="ADAL" clId="{BF97026B-F088-444A-89FB-4AB1CE25C7E5}" dt="2021-09-06T07:12:39.789" v="7073"/>
          <ac:picMkLst>
            <pc:docMk/>
            <pc:sldMk cId="586919712" sldId="662"/>
            <ac:picMk id="78" creationId="{63FBBA70-DD33-4C30-9AA1-87B7D76FD746}"/>
          </ac:picMkLst>
        </pc:picChg>
        <pc:picChg chg="mod">
          <ac:chgData name="Andreas Weiss" userId="86f45389-4ad9-4ce5-aa22-b4e8edefafef" providerId="ADAL" clId="{BF97026B-F088-444A-89FB-4AB1CE25C7E5}" dt="2021-09-06T07:12:39.789" v="7073"/>
          <ac:picMkLst>
            <pc:docMk/>
            <pc:sldMk cId="586919712" sldId="662"/>
            <ac:picMk id="80" creationId="{288D29DE-FB10-4F2E-9E01-79795089C0ED}"/>
          </ac:picMkLst>
        </pc:picChg>
        <pc:picChg chg="mod">
          <ac:chgData name="Andreas Weiss" userId="86f45389-4ad9-4ce5-aa22-b4e8edefafef" providerId="ADAL" clId="{BF97026B-F088-444A-89FB-4AB1CE25C7E5}" dt="2021-09-06T07:12:39.789" v="7073"/>
          <ac:picMkLst>
            <pc:docMk/>
            <pc:sldMk cId="586919712" sldId="662"/>
            <ac:picMk id="81" creationId="{FF07E3BE-71C8-4805-AC6D-BE6C8D7ED233}"/>
          </ac:picMkLst>
        </pc:picChg>
        <pc:picChg chg="mod">
          <ac:chgData name="Andreas Weiss" userId="86f45389-4ad9-4ce5-aa22-b4e8edefafef" providerId="ADAL" clId="{BF97026B-F088-444A-89FB-4AB1CE25C7E5}" dt="2021-09-06T07:12:39.789" v="7073"/>
          <ac:picMkLst>
            <pc:docMk/>
            <pc:sldMk cId="586919712" sldId="662"/>
            <ac:picMk id="82" creationId="{D3718F8F-2D5E-4E7D-86DA-3EC851DA91EB}"/>
          </ac:picMkLst>
        </pc:picChg>
        <pc:picChg chg="mod">
          <ac:chgData name="Andreas Weiss" userId="86f45389-4ad9-4ce5-aa22-b4e8edefafef" providerId="ADAL" clId="{BF97026B-F088-444A-89FB-4AB1CE25C7E5}" dt="2021-09-06T07:12:39.789" v="7073"/>
          <ac:picMkLst>
            <pc:docMk/>
            <pc:sldMk cId="586919712" sldId="662"/>
            <ac:picMk id="83" creationId="{40C86931-6F98-441E-A6F4-E8F2E05CF2D7}"/>
          </ac:picMkLst>
        </pc:picChg>
        <pc:picChg chg="mod">
          <ac:chgData name="Andreas Weiss" userId="86f45389-4ad9-4ce5-aa22-b4e8edefafef" providerId="ADAL" clId="{BF97026B-F088-444A-89FB-4AB1CE25C7E5}" dt="2021-09-06T07:12:39.789" v="7073"/>
          <ac:picMkLst>
            <pc:docMk/>
            <pc:sldMk cId="586919712" sldId="662"/>
            <ac:picMk id="84" creationId="{10DD3C30-E30E-4828-B47E-14B90BF414AA}"/>
          </ac:picMkLst>
        </pc:picChg>
        <pc:picChg chg="add mod">
          <ac:chgData name="Andreas Weiss" userId="86f45389-4ad9-4ce5-aa22-b4e8edefafef" providerId="ADAL" clId="{BF97026B-F088-444A-89FB-4AB1CE25C7E5}" dt="2021-09-06T07:13:27.670" v="7081" actId="164"/>
          <ac:picMkLst>
            <pc:docMk/>
            <pc:sldMk cId="586919712" sldId="662"/>
            <ac:picMk id="85" creationId="{5DD284A8-2DC4-4E9E-9C15-A4767F9BCCE2}"/>
          </ac:picMkLst>
        </pc:pic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40" creationId="{FAB1665C-4682-4CF6-B1D1-F5F77A5BBF0E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41" creationId="{19A772C3-93AB-4FF3-A912-0145CADF93A8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42" creationId="{EF878731-756C-4BFD-B492-D00A05E1F599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43" creationId="{D3382102-1810-499E-8B67-18BD5A92168F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44" creationId="{D74503B4-369E-4033-A14B-04F20A96AEE3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50" creationId="{48C88E66-FA38-4EB4-8C08-F80E9F89313A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51" creationId="{336B19A6-31BE-4DC5-8EF9-7EA67A06F2F2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52" creationId="{A49375E2-95C8-428F-B013-A337F4301E95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53" creationId="{288C7928-D4F8-4B9A-B204-C3A964061E41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54" creationId="{1906069C-DAB8-4B99-8490-5FC83F7C43F7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58" creationId="{EC991283-EC94-44BC-B235-196A1BC7FD1B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59" creationId="{9B28BD0B-1D63-46AA-9847-34FCF687891A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60" creationId="{2C2146E9-7364-4B2D-BE2F-B5D60D003328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61" creationId="{B6624147-D938-46F4-B2BC-A4D993AB663E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62" creationId="{7B0B04D5-1C9D-4FB6-9109-24BD940B4A23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90" creationId="{A1B26CFE-F13C-4F13-AF92-AD97D1C8E2ED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91" creationId="{FB70E36D-075D-432C-9BA3-798EAAE75BEE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92" creationId="{CC74778A-AD74-458D-BEFE-C3926008A49C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93" creationId="{35241CA4-5EEC-4A41-BB37-3993E736789E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97" creationId="{5D47FA93-AB40-4E1E-B89C-1E43E92889E8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98" creationId="{70F8F3A1-DEC0-435C-B442-076894B809EF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111" creationId="{2F849B99-DCA9-4038-8C45-81AECC398136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112" creationId="{3B701CB0-75BB-41E5-9251-C9D7456A0D62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113" creationId="{8388F352-D86E-419D-9908-65AA44E4C5AD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114" creationId="{0E47DF71-DF12-4649-A2AD-24ADE38DA5AE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118" creationId="{9E951A85-DD47-43B2-B621-8FDB4049D622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119" creationId="{92C2C796-8F2E-4FAC-8BC7-726B863875D9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132" creationId="{43FA26B0-FBD5-4EEE-9B86-0BEB52BBF63C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133" creationId="{802DF509-F486-495A-8A54-E92C053BAEFB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134" creationId="{BFB09A3F-54EF-44E9-83E3-D0FB3A04C02B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135" creationId="{E21D4D63-8902-4161-8CBD-434B7A1D4C40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139" creationId="{0C5B7CBB-C824-4B2B-9648-EBF2AB97B757}"/>
          </ac:cxnSpMkLst>
        </pc:cxnChg>
        <pc:cxnChg chg="mod">
          <ac:chgData name="Andreas Weiss" userId="86f45389-4ad9-4ce5-aa22-b4e8edefafef" providerId="ADAL" clId="{BF97026B-F088-444A-89FB-4AB1CE25C7E5}" dt="2021-09-06T07:12:39.789" v="7073"/>
          <ac:cxnSpMkLst>
            <pc:docMk/>
            <pc:sldMk cId="586919712" sldId="662"/>
            <ac:cxnSpMk id="140" creationId="{FD1E66A1-B757-47CD-8B81-387619C085DE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Segoe UI Semilight" panose="020B0402040204020203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3C1EA4-63B5-4229-A44B-02A494E1EF2B}" type="datetimeFigureOut">
              <a:rPr lang="de-DE" smtClean="0">
                <a:latin typeface="Segoe UI Semilight" panose="020B0402040204020203" pitchFamily="34" charset="0"/>
              </a:rPr>
              <a:t>06.09.2021</a:t>
            </a:fld>
            <a:endParaRPr lang="de-DE" dirty="0">
              <a:latin typeface="Segoe UI Semilight" panose="020B0402040204020203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Segoe UI Semilight" panose="020B0402040204020203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0CB5F2-D46B-4735-8284-7144E7F9EBDC}" type="slidenum">
              <a:rPr lang="de-DE" smtClean="0">
                <a:latin typeface="Segoe UI Semilight" panose="020B0402040204020203" pitchFamily="34" charset="0"/>
              </a:rPr>
              <a:t>‹Nr.›</a:t>
            </a:fld>
            <a:endParaRPr lang="de-DE" dirty="0">
              <a:latin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73133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 Semilight" panose="020B040204020402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 Semilight" panose="020B0402040204020203" pitchFamily="34" charset="0"/>
              </a:defRPr>
            </a:lvl1pPr>
          </a:lstStyle>
          <a:p>
            <a:fld id="{42481784-3E33-4FE4-B142-F2A5A91E9E0D}" type="datetimeFigureOut">
              <a:rPr lang="de-DE" smtClean="0"/>
              <a:pPr/>
              <a:t>06.09.202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egoe UI Semilight" panose="020B040204020402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 Semilight" panose="020B0402040204020203" pitchFamily="34" charset="0"/>
              </a:defRPr>
            </a:lvl1pPr>
          </a:lstStyle>
          <a:p>
            <a:fld id="{C5664250-C2A5-40E8-B8ED-6E80D0879DB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33591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664250-C2A5-40E8-B8ED-6E80D0879DB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3638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664250-C2A5-40E8-B8ED-6E80D0879DB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4039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fe.de/" TargetMode="External"/><Relationship Id="rId2" Type="http://schemas.openxmlformats.org/officeDocument/2006/relationships/hyperlink" Target="mailto:info@ffe.de" TargetMode="External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fe.de/" TargetMode="External"/><Relationship Id="rId2" Type="http://schemas.openxmlformats.org/officeDocument/2006/relationships/hyperlink" Target="mailto:info@ffe.de" TargetMode="External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 11"/>
          <p:cNvSpPr/>
          <p:nvPr userDrawn="1"/>
        </p:nvSpPr>
        <p:spPr>
          <a:xfrm>
            <a:off x="0" y="3281615"/>
            <a:ext cx="6470658" cy="3576385"/>
          </a:xfrm>
          <a:custGeom>
            <a:avLst/>
            <a:gdLst>
              <a:gd name="connsiteX0" fmla="*/ 0 w 6470658"/>
              <a:gd name="connsiteY0" fmla="*/ 0 h 3576385"/>
              <a:gd name="connsiteX1" fmla="*/ 6470658 w 6470658"/>
              <a:gd name="connsiteY1" fmla="*/ 2260388 h 3576385"/>
              <a:gd name="connsiteX2" fmla="*/ 5880866 w 6470658"/>
              <a:gd name="connsiteY2" fmla="*/ 3576385 h 3576385"/>
              <a:gd name="connsiteX3" fmla="*/ 0 w 6470658"/>
              <a:gd name="connsiteY3" fmla="*/ 3576385 h 3576385"/>
              <a:gd name="connsiteX4" fmla="*/ 0 w 6470658"/>
              <a:gd name="connsiteY4" fmla="*/ 0 h 3576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0658" h="3576385">
                <a:moveTo>
                  <a:pt x="0" y="0"/>
                </a:moveTo>
                <a:lnTo>
                  <a:pt x="6470658" y="2260388"/>
                </a:lnTo>
                <a:lnTo>
                  <a:pt x="5880866" y="3576385"/>
                </a:lnTo>
                <a:lnTo>
                  <a:pt x="0" y="357638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82549" y="5865807"/>
            <a:ext cx="5563339" cy="47625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sz="1800" dirty="0"/>
              <a:t>Vortragender/Vortragende</a:t>
            </a:r>
            <a:endParaRPr lang="de-DE" dirty="0"/>
          </a:p>
        </p:txBody>
      </p:sp>
      <p:sp>
        <p:nvSpPr>
          <p:cNvPr id="24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>
          <a:xfrm>
            <a:off x="2316163" y="6356350"/>
            <a:ext cx="3329726" cy="36512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0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82548" y="4485216"/>
            <a:ext cx="5563339" cy="1297555"/>
          </a:xfrm>
          <a:custGeom>
            <a:avLst/>
            <a:gdLst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3339 w 5563339"/>
              <a:gd name="connsiteY2" fmla="*/ 1297184 h 1297184"/>
              <a:gd name="connsiteX3" fmla="*/ 0 w 5563339"/>
              <a:gd name="connsiteY3" fmla="*/ 1297184 h 1297184"/>
              <a:gd name="connsiteX4" fmla="*/ 0 w 5563339"/>
              <a:gd name="connsiteY4" fmla="*/ 0 h 1297184"/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2602 w 5563339"/>
              <a:gd name="connsiteY2" fmla="*/ 770095 h 1297184"/>
              <a:gd name="connsiteX3" fmla="*/ 5563339 w 5563339"/>
              <a:gd name="connsiteY3" fmla="*/ 1297184 h 1297184"/>
              <a:gd name="connsiteX4" fmla="*/ 0 w 5563339"/>
              <a:gd name="connsiteY4" fmla="*/ 1297184 h 1297184"/>
              <a:gd name="connsiteX5" fmla="*/ 0 w 5563339"/>
              <a:gd name="connsiteY5" fmla="*/ 0 h 1297184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3339 w 5563339"/>
              <a:gd name="connsiteY2" fmla="*/ 371 h 1297555"/>
              <a:gd name="connsiteX3" fmla="*/ 5562602 w 5563339"/>
              <a:gd name="connsiteY3" fmla="*/ 770466 h 1297555"/>
              <a:gd name="connsiteX4" fmla="*/ 5563339 w 5563339"/>
              <a:gd name="connsiteY4" fmla="*/ 1297555 h 1297555"/>
              <a:gd name="connsiteX5" fmla="*/ 0 w 5563339"/>
              <a:gd name="connsiteY5" fmla="*/ 1297555 h 1297555"/>
              <a:gd name="connsiteX6" fmla="*/ 0 w 5563339"/>
              <a:gd name="connsiteY6" fmla="*/ 371 h 1297555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2602 w 5563339"/>
              <a:gd name="connsiteY2" fmla="*/ 770466 h 1297555"/>
              <a:gd name="connsiteX3" fmla="*/ 5563339 w 5563339"/>
              <a:gd name="connsiteY3" fmla="*/ 1297555 h 1297555"/>
              <a:gd name="connsiteX4" fmla="*/ 0 w 5563339"/>
              <a:gd name="connsiteY4" fmla="*/ 1297555 h 1297555"/>
              <a:gd name="connsiteX5" fmla="*/ 0 w 5563339"/>
              <a:gd name="connsiteY5" fmla="*/ 371 h 129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3339" h="1297555">
                <a:moveTo>
                  <a:pt x="0" y="371"/>
                </a:moveTo>
                <a:lnTo>
                  <a:pt x="3361269" y="0"/>
                </a:lnTo>
                <a:lnTo>
                  <a:pt x="5562602" y="770466"/>
                </a:lnTo>
                <a:cubicBezTo>
                  <a:pt x="5562848" y="946162"/>
                  <a:pt x="5563093" y="1121859"/>
                  <a:pt x="5563339" y="1297555"/>
                </a:cubicBezTo>
                <a:lnTo>
                  <a:pt x="0" y="1297555"/>
                </a:lnTo>
                <a:lnTo>
                  <a:pt x="0" y="371"/>
                </a:lnTo>
                <a:close/>
              </a:path>
            </a:pathLst>
          </a:custGeom>
        </p:spPr>
        <p:txBody>
          <a:bodyPr wrap="square" anchor="b">
            <a:normAutofit/>
          </a:bodyPr>
          <a:lstStyle>
            <a:lvl1pPr marL="0" indent="0">
              <a:buNone/>
              <a:defRPr lang="de-DE" sz="2800" b="1" baseline="0" dirty="0">
                <a:solidFill>
                  <a:srgbClr val="356CA5"/>
                </a:solidFill>
              </a:defRPr>
            </a:lvl1pPr>
          </a:lstStyle>
          <a:p>
            <a:pPr marL="228600" marR="0" lvl="0" indent="-2286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Mastertextformat bearbeiten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610" y="3715921"/>
            <a:ext cx="729760" cy="535157"/>
          </a:xfrm>
          <a:prstGeom prst="rect">
            <a:avLst/>
          </a:prstGeom>
        </p:spPr>
      </p:pic>
      <p:sp>
        <p:nvSpPr>
          <p:cNvPr id="14" name="Rechtwinkliges Dreieck 13"/>
          <p:cNvSpPr/>
          <p:nvPr userDrawn="1"/>
        </p:nvSpPr>
        <p:spPr>
          <a:xfrm flipH="1">
            <a:off x="11138666" y="4514283"/>
            <a:ext cx="1053333" cy="2350293"/>
          </a:xfrm>
          <a:prstGeom prst="rtTriangle">
            <a:avLst/>
          </a:prstGeom>
          <a:solidFill>
            <a:schemeClr val="accent5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12536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_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193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800" b="1" i="0" baseline="0" dirty="0">
              <a:latin typeface="Segoe UI Semilight" panose="020B0402040204020203" pitchFamily="34" charset="0"/>
              <a:ea typeface="+mj-ea"/>
              <a:cs typeface="+mj-cs"/>
              <a:sym typeface="Segoe UI Semilight" panose="020B04020402040202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66763" y="1852487"/>
            <a:ext cx="10477500" cy="1325563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Text einfügen</a:t>
            </a:r>
          </a:p>
        </p:txBody>
      </p:sp>
      <p:pic>
        <p:nvPicPr>
          <p:cNvPr id="107" name="Grafik 10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843"/>
          <a:stretch/>
        </p:blipFill>
        <p:spPr>
          <a:xfrm>
            <a:off x="768559" y="3282630"/>
            <a:ext cx="10475704" cy="35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9136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kussion_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>
          <a:xfrm>
            <a:off x="766764" y="1840926"/>
            <a:ext cx="10433050" cy="2049462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1pPr>
            <a:lvl2pPr marL="742950" indent="-285750"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2pPr>
            <a:lvl3pPr marL="1200150" indent="-285750"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3pPr>
            <a:lvl4pPr marL="1657350" indent="-285750"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4pPr>
            <a:lvl5pPr marL="2114550" indent="-285750">
              <a:buFont typeface="Arial" panose="020B0604020202020204" pitchFamily="34" charset="0"/>
              <a:buChar char="•"/>
              <a:defRPr sz="1600">
                <a:latin typeface="Futura Lt BT" panose="020B0402020204020303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843"/>
          <a:stretch/>
        </p:blipFill>
        <p:spPr>
          <a:xfrm>
            <a:off x="768559" y="3282630"/>
            <a:ext cx="10475704" cy="35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3502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766763" y="1844675"/>
            <a:ext cx="10433185" cy="4511676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1pPr>
            <a:lvl2pPr marL="7429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2pPr>
            <a:lvl3pPr marL="12001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3pPr>
            <a:lvl4pPr marL="16573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4pPr>
            <a:lvl5pPr>
              <a:defRPr sz="14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66762" y="6356350"/>
            <a:ext cx="10447861" cy="4248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rgbClr val="356CA5"/>
                </a:solidFill>
              </a:defRPr>
            </a:lvl1pPr>
          </a:lstStyle>
          <a:p>
            <a:pPr lvl="0"/>
            <a:r>
              <a:rPr lang="de-DE" dirty="0"/>
              <a:t>Fazit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391899" y="6356350"/>
            <a:ext cx="6544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A989E3-AE74-4E67-83E2-3A01BDA6C6B0}" type="slidenum">
              <a:rPr kumimoji="0" lang="de-DE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7672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481">
          <p15:clr>
            <a:srgbClr val="FBAE40"/>
          </p15:clr>
        </p15:guide>
        <p15:guide id="5" pos="706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2434167" y="1442507"/>
            <a:ext cx="9761390" cy="5416763"/>
          </a:xfrm>
          <a:custGeom>
            <a:avLst/>
            <a:gdLst>
              <a:gd name="connsiteX0" fmla="*/ 0 w 9090659"/>
              <a:gd name="connsiteY0" fmla="*/ 0 h 5426076"/>
              <a:gd name="connsiteX1" fmla="*/ 9090659 w 9090659"/>
              <a:gd name="connsiteY1" fmla="*/ 0 h 5426076"/>
              <a:gd name="connsiteX2" fmla="*/ 9090659 w 9090659"/>
              <a:gd name="connsiteY2" fmla="*/ 5426076 h 5426076"/>
              <a:gd name="connsiteX3" fmla="*/ 0 w 9090659"/>
              <a:gd name="connsiteY3" fmla="*/ 5426076 h 5426076"/>
              <a:gd name="connsiteX4" fmla="*/ 0 w 9090659"/>
              <a:gd name="connsiteY4" fmla="*/ 0 h 5426076"/>
              <a:gd name="connsiteX0" fmla="*/ 2461260 w 9090659"/>
              <a:gd name="connsiteY0" fmla="*/ 0 h 5433696"/>
              <a:gd name="connsiteX1" fmla="*/ 9090659 w 9090659"/>
              <a:gd name="connsiteY1" fmla="*/ 7620 h 5433696"/>
              <a:gd name="connsiteX2" fmla="*/ 9090659 w 9090659"/>
              <a:gd name="connsiteY2" fmla="*/ 5433696 h 5433696"/>
              <a:gd name="connsiteX3" fmla="*/ 0 w 9090659"/>
              <a:gd name="connsiteY3" fmla="*/ 5433696 h 5433696"/>
              <a:gd name="connsiteX4" fmla="*/ 2461260 w 9090659"/>
              <a:gd name="connsiteY4" fmla="*/ 0 h 5433696"/>
              <a:gd name="connsiteX0" fmla="*/ 2377440 w 9090659"/>
              <a:gd name="connsiteY0" fmla="*/ 0 h 5426076"/>
              <a:gd name="connsiteX1" fmla="*/ 9090659 w 9090659"/>
              <a:gd name="connsiteY1" fmla="*/ 0 h 5426076"/>
              <a:gd name="connsiteX2" fmla="*/ 9090659 w 9090659"/>
              <a:gd name="connsiteY2" fmla="*/ 5426076 h 5426076"/>
              <a:gd name="connsiteX3" fmla="*/ 0 w 9090659"/>
              <a:gd name="connsiteY3" fmla="*/ 5426076 h 5426076"/>
              <a:gd name="connsiteX4" fmla="*/ 2377440 w 9090659"/>
              <a:gd name="connsiteY4" fmla="*/ 0 h 5426076"/>
              <a:gd name="connsiteX0" fmla="*/ 2484120 w 9197339"/>
              <a:gd name="connsiteY0" fmla="*/ 0 h 5426076"/>
              <a:gd name="connsiteX1" fmla="*/ 9197339 w 9197339"/>
              <a:gd name="connsiteY1" fmla="*/ 0 h 5426076"/>
              <a:gd name="connsiteX2" fmla="*/ 9197339 w 9197339"/>
              <a:gd name="connsiteY2" fmla="*/ 5426076 h 5426076"/>
              <a:gd name="connsiteX3" fmla="*/ 0 w 9197339"/>
              <a:gd name="connsiteY3" fmla="*/ 5418456 h 5426076"/>
              <a:gd name="connsiteX4" fmla="*/ 2484120 w 9197339"/>
              <a:gd name="connsiteY4" fmla="*/ 0 h 5426076"/>
              <a:gd name="connsiteX0" fmla="*/ 2590800 w 9197339"/>
              <a:gd name="connsiteY0" fmla="*/ 0 h 5426076"/>
              <a:gd name="connsiteX1" fmla="*/ 9197339 w 9197339"/>
              <a:gd name="connsiteY1" fmla="*/ 0 h 5426076"/>
              <a:gd name="connsiteX2" fmla="*/ 9197339 w 9197339"/>
              <a:gd name="connsiteY2" fmla="*/ 5426076 h 5426076"/>
              <a:gd name="connsiteX3" fmla="*/ 0 w 9197339"/>
              <a:gd name="connsiteY3" fmla="*/ 5418456 h 5426076"/>
              <a:gd name="connsiteX4" fmla="*/ 2590800 w 9197339"/>
              <a:gd name="connsiteY4" fmla="*/ 0 h 5426076"/>
              <a:gd name="connsiteX0" fmla="*/ 2461260 w 9067799"/>
              <a:gd name="connsiteY0" fmla="*/ 0 h 5426076"/>
              <a:gd name="connsiteX1" fmla="*/ 9067799 w 9067799"/>
              <a:gd name="connsiteY1" fmla="*/ 0 h 5426076"/>
              <a:gd name="connsiteX2" fmla="*/ 9067799 w 9067799"/>
              <a:gd name="connsiteY2" fmla="*/ 5426076 h 5426076"/>
              <a:gd name="connsiteX3" fmla="*/ 0 w 9067799"/>
              <a:gd name="connsiteY3" fmla="*/ 5426076 h 5426076"/>
              <a:gd name="connsiteX4" fmla="*/ 2461260 w 9067799"/>
              <a:gd name="connsiteY4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9067799 w 9067800"/>
              <a:gd name="connsiteY3" fmla="*/ 5426076 h 5426076"/>
              <a:gd name="connsiteX4" fmla="*/ 0 w 9067800"/>
              <a:gd name="connsiteY4" fmla="*/ 5426076 h 5426076"/>
              <a:gd name="connsiteX5" fmla="*/ 2461260 w 9067800"/>
              <a:gd name="connsiteY5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9067799 w 9067800"/>
              <a:gd name="connsiteY3" fmla="*/ 5426076 h 5426076"/>
              <a:gd name="connsiteX4" fmla="*/ 8008619 w 9067800"/>
              <a:gd name="connsiteY4" fmla="*/ 5418456 h 5426076"/>
              <a:gd name="connsiteX5" fmla="*/ 0 w 9067800"/>
              <a:gd name="connsiteY5" fmla="*/ 5426076 h 5426076"/>
              <a:gd name="connsiteX6" fmla="*/ 2461260 w 9067800"/>
              <a:gd name="connsiteY6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9067799 w 9067800"/>
              <a:gd name="connsiteY3" fmla="*/ 5426076 h 5426076"/>
              <a:gd name="connsiteX4" fmla="*/ 8008619 w 9067800"/>
              <a:gd name="connsiteY4" fmla="*/ 5418456 h 5426076"/>
              <a:gd name="connsiteX5" fmla="*/ 0 w 9067800"/>
              <a:gd name="connsiteY5" fmla="*/ 5426076 h 5426076"/>
              <a:gd name="connsiteX6" fmla="*/ 2461260 w 9067800"/>
              <a:gd name="connsiteY6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9067799 w 9067800"/>
              <a:gd name="connsiteY3" fmla="*/ 5426076 h 5426076"/>
              <a:gd name="connsiteX4" fmla="*/ 8008619 w 9067800"/>
              <a:gd name="connsiteY4" fmla="*/ 5418456 h 5426076"/>
              <a:gd name="connsiteX5" fmla="*/ 0 w 9067800"/>
              <a:gd name="connsiteY5" fmla="*/ 5426076 h 5426076"/>
              <a:gd name="connsiteX6" fmla="*/ 2461260 w 9067800"/>
              <a:gd name="connsiteY6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8458199 w 9067800"/>
              <a:gd name="connsiteY3" fmla="*/ 4907916 h 5426076"/>
              <a:gd name="connsiteX4" fmla="*/ 8008619 w 9067800"/>
              <a:gd name="connsiteY4" fmla="*/ 5418456 h 5426076"/>
              <a:gd name="connsiteX5" fmla="*/ 0 w 9067800"/>
              <a:gd name="connsiteY5" fmla="*/ 5426076 h 5426076"/>
              <a:gd name="connsiteX6" fmla="*/ 2461260 w 9067800"/>
              <a:gd name="connsiteY6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8458199 w 9067800"/>
              <a:gd name="connsiteY3" fmla="*/ 4907916 h 5426076"/>
              <a:gd name="connsiteX4" fmla="*/ 8008619 w 9067800"/>
              <a:gd name="connsiteY4" fmla="*/ 5418456 h 5426076"/>
              <a:gd name="connsiteX5" fmla="*/ 0 w 9067800"/>
              <a:gd name="connsiteY5" fmla="*/ 5426076 h 5426076"/>
              <a:gd name="connsiteX6" fmla="*/ 2461260 w 9067800"/>
              <a:gd name="connsiteY6" fmla="*/ 0 h 5426076"/>
              <a:gd name="connsiteX0" fmla="*/ 2461260 w 9199434"/>
              <a:gd name="connsiteY0" fmla="*/ 0 h 5426076"/>
              <a:gd name="connsiteX1" fmla="*/ 9067799 w 9199434"/>
              <a:gd name="connsiteY1" fmla="*/ 0 h 5426076"/>
              <a:gd name="connsiteX2" fmla="*/ 9067800 w 9199434"/>
              <a:gd name="connsiteY2" fmla="*/ 3086736 h 5426076"/>
              <a:gd name="connsiteX3" fmla="*/ 8458199 w 9199434"/>
              <a:gd name="connsiteY3" fmla="*/ 4907916 h 5426076"/>
              <a:gd name="connsiteX4" fmla="*/ 8008619 w 9199434"/>
              <a:gd name="connsiteY4" fmla="*/ 5418456 h 5426076"/>
              <a:gd name="connsiteX5" fmla="*/ 0 w 9199434"/>
              <a:gd name="connsiteY5" fmla="*/ 5426076 h 5426076"/>
              <a:gd name="connsiteX6" fmla="*/ 2461260 w 9199434"/>
              <a:gd name="connsiteY6" fmla="*/ 0 h 5426076"/>
              <a:gd name="connsiteX0" fmla="*/ 2461260 w 9199434"/>
              <a:gd name="connsiteY0" fmla="*/ 0 h 5426076"/>
              <a:gd name="connsiteX1" fmla="*/ 9067799 w 9199434"/>
              <a:gd name="connsiteY1" fmla="*/ 0 h 5426076"/>
              <a:gd name="connsiteX2" fmla="*/ 9067800 w 9199434"/>
              <a:gd name="connsiteY2" fmla="*/ 3086736 h 5426076"/>
              <a:gd name="connsiteX3" fmla="*/ 8458199 w 9199434"/>
              <a:gd name="connsiteY3" fmla="*/ 4907916 h 5426076"/>
              <a:gd name="connsiteX4" fmla="*/ 8008619 w 9199434"/>
              <a:gd name="connsiteY4" fmla="*/ 5418456 h 5426076"/>
              <a:gd name="connsiteX5" fmla="*/ 0 w 9199434"/>
              <a:gd name="connsiteY5" fmla="*/ 5426076 h 5426076"/>
              <a:gd name="connsiteX6" fmla="*/ 2461260 w 9199434"/>
              <a:gd name="connsiteY6" fmla="*/ 0 h 5426076"/>
              <a:gd name="connsiteX0" fmla="*/ 2461260 w 9158255"/>
              <a:gd name="connsiteY0" fmla="*/ 0 h 5426076"/>
              <a:gd name="connsiteX1" fmla="*/ 9067799 w 9158255"/>
              <a:gd name="connsiteY1" fmla="*/ 0 h 5426076"/>
              <a:gd name="connsiteX2" fmla="*/ 9067800 w 9158255"/>
              <a:gd name="connsiteY2" fmla="*/ 3086736 h 5426076"/>
              <a:gd name="connsiteX3" fmla="*/ 8458199 w 9158255"/>
              <a:gd name="connsiteY3" fmla="*/ 4907916 h 5426076"/>
              <a:gd name="connsiteX4" fmla="*/ 8008619 w 9158255"/>
              <a:gd name="connsiteY4" fmla="*/ 5418456 h 5426076"/>
              <a:gd name="connsiteX5" fmla="*/ 0 w 9158255"/>
              <a:gd name="connsiteY5" fmla="*/ 5426076 h 5426076"/>
              <a:gd name="connsiteX6" fmla="*/ 2461260 w 9158255"/>
              <a:gd name="connsiteY6" fmla="*/ 0 h 5426076"/>
              <a:gd name="connsiteX0" fmla="*/ 2461260 w 9158255"/>
              <a:gd name="connsiteY0" fmla="*/ 0 h 5426076"/>
              <a:gd name="connsiteX1" fmla="*/ 9067799 w 9158255"/>
              <a:gd name="connsiteY1" fmla="*/ 0 h 5426076"/>
              <a:gd name="connsiteX2" fmla="*/ 9067800 w 9158255"/>
              <a:gd name="connsiteY2" fmla="*/ 3086736 h 5426076"/>
              <a:gd name="connsiteX3" fmla="*/ 8458199 w 9158255"/>
              <a:gd name="connsiteY3" fmla="*/ 4907916 h 5426076"/>
              <a:gd name="connsiteX4" fmla="*/ 8008619 w 9158255"/>
              <a:gd name="connsiteY4" fmla="*/ 5418456 h 5426076"/>
              <a:gd name="connsiteX5" fmla="*/ 0 w 9158255"/>
              <a:gd name="connsiteY5" fmla="*/ 5426076 h 5426076"/>
              <a:gd name="connsiteX6" fmla="*/ 2461260 w 9158255"/>
              <a:gd name="connsiteY6" fmla="*/ 0 h 5426076"/>
              <a:gd name="connsiteX0" fmla="*/ 8458199 w 9167526"/>
              <a:gd name="connsiteY0" fmla="*/ 4907916 h 5426076"/>
              <a:gd name="connsiteX1" fmla="*/ 8008619 w 9167526"/>
              <a:gd name="connsiteY1" fmla="*/ 5418456 h 5426076"/>
              <a:gd name="connsiteX2" fmla="*/ 0 w 9167526"/>
              <a:gd name="connsiteY2" fmla="*/ 5426076 h 5426076"/>
              <a:gd name="connsiteX3" fmla="*/ 2461260 w 9167526"/>
              <a:gd name="connsiteY3" fmla="*/ 0 h 5426076"/>
              <a:gd name="connsiteX4" fmla="*/ 9067799 w 9167526"/>
              <a:gd name="connsiteY4" fmla="*/ 0 h 5426076"/>
              <a:gd name="connsiteX5" fmla="*/ 9067800 w 9167526"/>
              <a:gd name="connsiteY5" fmla="*/ 3086736 h 5426076"/>
              <a:gd name="connsiteX6" fmla="*/ 8549639 w 9167526"/>
              <a:gd name="connsiteY6" fmla="*/ 4999356 h 5426076"/>
              <a:gd name="connsiteX0" fmla="*/ 8458199 w 9067800"/>
              <a:gd name="connsiteY0" fmla="*/ 4907916 h 5426076"/>
              <a:gd name="connsiteX1" fmla="*/ 8008619 w 9067800"/>
              <a:gd name="connsiteY1" fmla="*/ 5418456 h 5426076"/>
              <a:gd name="connsiteX2" fmla="*/ 0 w 9067800"/>
              <a:gd name="connsiteY2" fmla="*/ 5426076 h 5426076"/>
              <a:gd name="connsiteX3" fmla="*/ 2461260 w 9067800"/>
              <a:gd name="connsiteY3" fmla="*/ 0 h 5426076"/>
              <a:gd name="connsiteX4" fmla="*/ 9067799 w 9067800"/>
              <a:gd name="connsiteY4" fmla="*/ 0 h 5426076"/>
              <a:gd name="connsiteX5" fmla="*/ 9067800 w 9067800"/>
              <a:gd name="connsiteY5" fmla="*/ 3086736 h 5426076"/>
              <a:gd name="connsiteX0" fmla="*/ 8008619 w 9067800"/>
              <a:gd name="connsiteY0" fmla="*/ 5418456 h 5426076"/>
              <a:gd name="connsiteX1" fmla="*/ 0 w 9067800"/>
              <a:gd name="connsiteY1" fmla="*/ 5426076 h 5426076"/>
              <a:gd name="connsiteX2" fmla="*/ 2461260 w 9067800"/>
              <a:gd name="connsiteY2" fmla="*/ 0 h 5426076"/>
              <a:gd name="connsiteX3" fmla="*/ 9067799 w 9067800"/>
              <a:gd name="connsiteY3" fmla="*/ 0 h 5426076"/>
              <a:gd name="connsiteX4" fmla="*/ 9067800 w 9067800"/>
              <a:gd name="connsiteY4" fmla="*/ 3086736 h 5426076"/>
              <a:gd name="connsiteX0" fmla="*/ 8008619 w 9067800"/>
              <a:gd name="connsiteY0" fmla="*/ 5418456 h 5426076"/>
              <a:gd name="connsiteX1" fmla="*/ 0 w 9067800"/>
              <a:gd name="connsiteY1" fmla="*/ 5426076 h 5426076"/>
              <a:gd name="connsiteX2" fmla="*/ 2461260 w 9067800"/>
              <a:gd name="connsiteY2" fmla="*/ 0 h 5426076"/>
              <a:gd name="connsiteX3" fmla="*/ 9067799 w 9067800"/>
              <a:gd name="connsiteY3" fmla="*/ 0 h 5426076"/>
              <a:gd name="connsiteX4" fmla="*/ 9067800 w 9067800"/>
              <a:gd name="connsiteY4" fmla="*/ 3086736 h 5426076"/>
              <a:gd name="connsiteX5" fmla="*/ 8008619 w 9067800"/>
              <a:gd name="connsiteY5" fmla="*/ 5418456 h 5426076"/>
              <a:gd name="connsiteX0" fmla="*/ 8008619 w 9067800"/>
              <a:gd name="connsiteY0" fmla="*/ 5418456 h 5426076"/>
              <a:gd name="connsiteX1" fmla="*/ 0 w 9067800"/>
              <a:gd name="connsiteY1" fmla="*/ 5426076 h 5426076"/>
              <a:gd name="connsiteX2" fmla="*/ 2461260 w 9067800"/>
              <a:gd name="connsiteY2" fmla="*/ 0 h 5426076"/>
              <a:gd name="connsiteX3" fmla="*/ 9067799 w 9067800"/>
              <a:gd name="connsiteY3" fmla="*/ 0 h 5426076"/>
              <a:gd name="connsiteX4" fmla="*/ 9067800 w 9067800"/>
              <a:gd name="connsiteY4" fmla="*/ 3056256 h 5426076"/>
              <a:gd name="connsiteX5" fmla="*/ 8008619 w 9067800"/>
              <a:gd name="connsiteY5" fmla="*/ 5418456 h 5426076"/>
              <a:gd name="connsiteX0" fmla="*/ 8012429 w 9067800"/>
              <a:gd name="connsiteY0" fmla="*/ 5422266 h 5426076"/>
              <a:gd name="connsiteX1" fmla="*/ 0 w 9067800"/>
              <a:gd name="connsiteY1" fmla="*/ 5426076 h 5426076"/>
              <a:gd name="connsiteX2" fmla="*/ 2461260 w 9067800"/>
              <a:gd name="connsiteY2" fmla="*/ 0 h 5426076"/>
              <a:gd name="connsiteX3" fmla="*/ 9067799 w 9067800"/>
              <a:gd name="connsiteY3" fmla="*/ 0 h 5426076"/>
              <a:gd name="connsiteX4" fmla="*/ 9067800 w 9067800"/>
              <a:gd name="connsiteY4" fmla="*/ 3056256 h 5426076"/>
              <a:gd name="connsiteX5" fmla="*/ 8012429 w 9067800"/>
              <a:gd name="connsiteY5" fmla="*/ 5422266 h 5426076"/>
              <a:gd name="connsiteX0" fmla="*/ 7971789 w 9067800"/>
              <a:gd name="connsiteY0" fmla="*/ 5427346 h 5427346"/>
              <a:gd name="connsiteX1" fmla="*/ 0 w 9067800"/>
              <a:gd name="connsiteY1" fmla="*/ 5426076 h 5427346"/>
              <a:gd name="connsiteX2" fmla="*/ 2461260 w 9067800"/>
              <a:gd name="connsiteY2" fmla="*/ 0 h 5427346"/>
              <a:gd name="connsiteX3" fmla="*/ 9067799 w 9067800"/>
              <a:gd name="connsiteY3" fmla="*/ 0 h 5427346"/>
              <a:gd name="connsiteX4" fmla="*/ 9067800 w 9067800"/>
              <a:gd name="connsiteY4" fmla="*/ 3056256 h 5427346"/>
              <a:gd name="connsiteX5" fmla="*/ 7971789 w 9067800"/>
              <a:gd name="connsiteY5" fmla="*/ 5427346 h 5427346"/>
              <a:gd name="connsiteX0" fmla="*/ 7971789 w 9067800"/>
              <a:gd name="connsiteY0" fmla="*/ 5427346 h 5427346"/>
              <a:gd name="connsiteX1" fmla="*/ 0 w 9067800"/>
              <a:gd name="connsiteY1" fmla="*/ 5426076 h 5427346"/>
              <a:gd name="connsiteX2" fmla="*/ 2461260 w 9067800"/>
              <a:gd name="connsiteY2" fmla="*/ 0 h 5427346"/>
              <a:gd name="connsiteX3" fmla="*/ 9067799 w 9067800"/>
              <a:gd name="connsiteY3" fmla="*/ 0 h 5427346"/>
              <a:gd name="connsiteX4" fmla="*/ 9067800 w 9067800"/>
              <a:gd name="connsiteY4" fmla="*/ 2980056 h 5427346"/>
              <a:gd name="connsiteX5" fmla="*/ 7971789 w 9067800"/>
              <a:gd name="connsiteY5" fmla="*/ 5427346 h 5427346"/>
              <a:gd name="connsiteX0" fmla="*/ 7971789 w 9067800"/>
              <a:gd name="connsiteY0" fmla="*/ 5427346 h 5427346"/>
              <a:gd name="connsiteX1" fmla="*/ 0 w 9067800"/>
              <a:gd name="connsiteY1" fmla="*/ 5426076 h 5427346"/>
              <a:gd name="connsiteX2" fmla="*/ 2446020 w 9067800"/>
              <a:gd name="connsiteY2" fmla="*/ 0 h 5427346"/>
              <a:gd name="connsiteX3" fmla="*/ 9067799 w 9067800"/>
              <a:gd name="connsiteY3" fmla="*/ 0 h 5427346"/>
              <a:gd name="connsiteX4" fmla="*/ 9067800 w 9067800"/>
              <a:gd name="connsiteY4" fmla="*/ 2980056 h 5427346"/>
              <a:gd name="connsiteX5" fmla="*/ 7971789 w 9067800"/>
              <a:gd name="connsiteY5" fmla="*/ 5427346 h 5427346"/>
              <a:gd name="connsiteX0" fmla="*/ 7971789 w 9067800"/>
              <a:gd name="connsiteY0" fmla="*/ 5427346 h 5427346"/>
              <a:gd name="connsiteX1" fmla="*/ 0 w 9067800"/>
              <a:gd name="connsiteY1" fmla="*/ 5426076 h 5427346"/>
              <a:gd name="connsiteX2" fmla="*/ 2304632 w 9067800"/>
              <a:gd name="connsiteY2" fmla="*/ 8467 h 5427346"/>
              <a:gd name="connsiteX3" fmla="*/ 9067799 w 9067800"/>
              <a:gd name="connsiteY3" fmla="*/ 0 h 5427346"/>
              <a:gd name="connsiteX4" fmla="*/ 9067800 w 9067800"/>
              <a:gd name="connsiteY4" fmla="*/ 2980056 h 5427346"/>
              <a:gd name="connsiteX5" fmla="*/ 7971789 w 9067800"/>
              <a:gd name="connsiteY5" fmla="*/ 5427346 h 5427346"/>
              <a:gd name="connsiteX0" fmla="*/ 7971789 w 9067800"/>
              <a:gd name="connsiteY0" fmla="*/ 5427346 h 5427346"/>
              <a:gd name="connsiteX1" fmla="*/ 0 w 9067800"/>
              <a:gd name="connsiteY1" fmla="*/ 5426076 h 5427346"/>
              <a:gd name="connsiteX2" fmla="*/ 2281068 w 9067800"/>
              <a:gd name="connsiteY2" fmla="*/ 8467 h 5427346"/>
              <a:gd name="connsiteX3" fmla="*/ 9067799 w 9067800"/>
              <a:gd name="connsiteY3" fmla="*/ 0 h 5427346"/>
              <a:gd name="connsiteX4" fmla="*/ 9067800 w 9067800"/>
              <a:gd name="connsiteY4" fmla="*/ 2980056 h 5427346"/>
              <a:gd name="connsiteX5" fmla="*/ 7971789 w 9067800"/>
              <a:gd name="connsiteY5" fmla="*/ 5427346 h 5427346"/>
              <a:gd name="connsiteX0" fmla="*/ 8026773 w 9067800"/>
              <a:gd name="connsiteY0" fmla="*/ 5427346 h 5427346"/>
              <a:gd name="connsiteX1" fmla="*/ 0 w 9067800"/>
              <a:gd name="connsiteY1" fmla="*/ 5426076 h 5427346"/>
              <a:gd name="connsiteX2" fmla="*/ 2281068 w 9067800"/>
              <a:gd name="connsiteY2" fmla="*/ 8467 h 5427346"/>
              <a:gd name="connsiteX3" fmla="*/ 9067799 w 9067800"/>
              <a:gd name="connsiteY3" fmla="*/ 0 h 5427346"/>
              <a:gd name="connsiteX4" fmla="*/ 9067800 w 9067800"/>
              <a:gd name="connsiteY4" fmla="*/ 2980056 h 5427346"/>
              <a:gd name="connsiteX5" fmla="*/ 8026773 w 9067800"/>
              <a:gd name="connsiteY5" fmla="*/ 5427346 h 5427346"/>
              <a:gd name="connsiteX0" fmla="*/ 8042484 w 9067800"/>
              <a:gd name="connsiteY0" fmla="*/ 5435813 h 5435813"/>
              <a:gd name="connsiteX1" fmla="*/ 0 w 9067800"/>
              <a:gd name="connsiteY1" fmla="*/ 5426076 h 5435813"/>
              <a:gd name="connsiteX2" fmla="*/ 2281068 w 9067800"/>
              <a:gd name="connsiteY2" fmla="*/ 8467 h 5435813"/>
              <a:gd name="connsiteX3" fmla="*/ 9067799 w 9067800"/>
              <a:gd name="connsiteY3" fmla="*/ 0 h 5435813"/>
              <a:gd name="connsiteX4" fmla="*/ 9067800 w 9067800"/>
              <a:gd name="connsiteY4" fmla="*/ 2980056 h 5435813"/>
              <a:gd name="connsiteX5" fmla="*/ 8042484 w 9067800"/>
              <a:gd name="connsiteY5" fmla="*/ 5435813 h 5435813"/>
              <a:gd name="connsiteX0" fmla="*/ 8042484 w 9067800"/>
              <a:gd name="connsiteY0" fmla="*/ 5435813 h 5435813"/>
              <a:gd name="connsiteX1" fmla="*/ 0 w 9067800"/>
              <a:gd name="connsiteY1" fmla="*/ 5426076 h 5435813"/>
              <a:gd name="connsiteX2" fmla="*/ 2281068 w 9067800"/>
              <a:gd name="connsiteY2" fmla="*/ 8467 h 5435813"/>
              <a:gd name="connsiteX3" fmla="*/ 9067799 w 9067800"/>
              <a:gd name="connsiteY3" fmla="*/ 0 h 5435813"/>
              <a:gd name="connsiteX4" fmla="*/ 9067800 w 9067800"/>
              <a:gd name="connsiteY4" fmla="*/ 2980056 h 5435813"/>
              <a:gd name="connsiteX5" fmla="*/ 8042484 w 9067800"/>
              <a:gd name="connsiteY5" fmla="*/ 5435813 h 5435813"/>
              <a:gd name="connsiteX0" fmla="*/ 8042484 w 9067800"/>
              <a:gd name="connsiteY0" fmla="*/ 5435813 h 5435813"/>
              <a:gd name="connsiteX1" fmla="*/ 0 w 9067800"/>
              <a:gd name="connsiteY1" fmla="*/ 5426076 h 5435813"/>
              <a:gd name="connsiteX2" fmla="*/ 2281068 w 9067800"/>
              <a:gd name="connsiteY2" fmla="*/ 0 h 5435813"/>
              <a:gd name="connsiteX3" fmla="*/ 9067799 w 9067800"/>
              <a:gd name="connsiteY3" fmla="*/ 0 h 5435813"/>
              <a:gd name="connsiteX4" fmla="*/ 9067800 w 9067800"/>
              <a:gd name="connsiteY4" fmla="*/ 2980056 h 5435813"/>
              <a:gd name="connsiteX5" fmla="*/ 8042484 w 9067800"/>
              <a:gd name="connsiteY5" fmla="*/ 5435813 h 5435813"/>
              <a:gd name="connsiteX0" fmla="*/ 8042484 w 9067800"/>
              <a:gd name="connsiteY0" fmla="*/ 5435813 h 5435813"/>
              <a:gd name="connsiteX1" fmla="*/ 0 w 9067800"/>
              <a:gd name="connsiteY1" fmla="*/ 5432426 h 5435813"/>
              <a:gd name="connsiteX2" fmla="*/ 2281068 w 9067800"/>
              <a:gd name="connsiteY2" fmla="*/ 0 h 5435813"/>
              <a:gd name="connsiteX3" fmla="*/ 9067799 w 9067800"/>
              <a:gd name="connsiteY3" fmla="*/ 0 h 5435813"/>
              <a:gd name="connsiteX4" fmla="*/ 9067800 w 9067800"/>
              <a:gd name="connsiteY4" fmla="*/ 2980056 h 5435813"/>
              <a:gd name="connsiteX5" fmla="*/ 8042484 w 9067800"/>
              <a:gd name="connsiteY5" fmla="*/ 5435813 h 5435813"/>
              <a:gd name="connsiteX0" fmla="*/ 8042484 w 9067800"/>
              <a:gd name="connsiteY0" fmla="*/ 5435813 h 5435813"/>
              <a:gd name="connsiteX1" fmla="*/ 0 w 9067800"/>
              <a:gd name="connsiteY1" fmla="*/ 5432426 h 5435813"/>
              <a:gd name="connsiteX2" fmla="*/ 2281068 w 9067800"/>
              <a:gd name="connsiteY2" fmla="*/ 0 h 5435813"/>
              <a:gd name="connsiteX3" fmla="*/ 9067799 w 9067800"/>
              <a:gd name="connsiteY3" fmla="*/ 19050 h 5435813"/>
              <a:gd name="connsiteX4" fmla="*/ 9067800 w 9067800"/>
              <a:gd name="connsiteY4" fmla="*/ 2980056 h 5435813"/>
              <a:gd name="connsiteX5" fmla="*/ 8042484 w 9067800"/>
              <a:gd name="connsiteY5" fmla="*/ 5435813 h 5435813"/>
              <a:gd name="connsiteX0" fmla="*/ 8042484 w 9067800"/>
              <a:gd name="connsiteY0" fmla="*/ 5416763 h 5416763"/>
              <a:gd name="connsiteX1" fmla="*/ 0 w 9067800"/>
              <a:gd name="connsiteY1" fmla="*/ 5413376 h 5416763"/>
              <a:gd name="connsiteX2" fmla="*/ 2281068 w 9067800"/>
              <a:gd name="connsiteY2" fmla="*/ 0 h 5416763"/>
              <a:gd name="connsiteX3" fmla="*/ 9067799 w 9067800"/>
              <a:gd name="connsiteY3" fmla="*/ 0 h 5416763"/>
              <a:gd name="connsiteX4" fmla="*/ 9067800 w 9067800"/>
              <a:gd name="connsiteY4" fmla="*/ 2961006 h 5416763"/>
              <a:gd name="connsiteX5" fmla="*/ 8042484 w 9067800"/>
              <a:gd name="connsiteY5" fmla="*/ 5416763 h 5416763"/>
              <a:gd name="connsiteX0" fmla="*/ 8042484 w 9067800"/>
              <a:gd name="connsiteY0" fmla="*/ 5416763 h 5416763"/>
              <a:gd name="connsiteX1" fmla="*/ 0 w 9067800"/>
              <a:gd name="connsiteY1" fmla="*/ 5413376 h 5416763"/>
              <a:gd name="connsiteX2" fmla="*/ 2281068 w 9067800"/>
              <a:gd name="connsiteY2" fmla="*/ 0 h 5416763"/>
              <a:gd name="connsiteX3" fmla="*/ 9067799 w 9067800"/>
              <a:gd name="connsiteY3" fmla="*/ 0 h 5416763"/>
              <a:gd name="connsiteX4" fmla="*/ 9067800 w 9067800"/>
              <a:gd name="connsiteY4" fmla="*/ 2961006 h 5416763"/>
              <a:gd name="connsiteX5" fmla="*/ 8042484 w 9067800"/>
              <a:gd name="connsiteY5" fmla="*/ 5416763 h 5416763"/>
              <a:gd name="connsiteX0" fmla="*/ 8024811 w 9050127"/>
              <a:gd name="connsiteY0" fmla="*/ 5416763 h 5416763"/>
              <a:gd name="connsiteX1" fmla="*/ 0 w 9050127"/>
              <a:gd name="connsiteY1" fmla="*/ 5413376 h 5416763"/>
              <a:gd name="connsiteX2" fmla="*/ 2263395 w 9050127"/>
              <a:gd name="connsiteY2" fmla="*/ 0 h 5416763"/>
              <a:gd name="connsiteX3" fmla="*/ 9050126 w 9050127"/>
              <a:gd name="connsiteY3" fmla="*/ 0 h 5416763"/>
              <a:gd name="connsiteX4" fmla="*/ 9050127 w 9050127"/>
              <a:gd name="connsiteY4" fmla="*/ 2961006 h 5416763"/>
              <a:gd name="connsiteX5" fmla="*/ 8024811 w 9050127"/>
              <a:gd name="connsiteY5" fmla="*/ 5416763 h 5416763"/>
              <a:gd name="connsiteX0" fmla="*/ 8030702 w 9056018"/>
              <a:gd name="connsiteY0" fmla="*/ 5416763 h 5416763"/>
              <a:gd name="connsiteX1" fmla="*/ 0 w 9056018"/>
              <a:gd name="connsiteY1" fmla="*/ 5413376 h 5416763"/>
              <a:gd name="connsiteX2" fmla="*/ 2269286 w 9056018"/>
              <a:gd name="connsiteY2" fmla="*/ 0 h 5416763"/>
              <a:gd name="connsiteX3" fmla="*/ 9056017 w 9056018"/>
              <a:gd name="connsiteY3" fmla="*/ 0 h 5416763"/>
              <a:gd name="connsiteX4" fmla="*/ 9056018 w 9056018"/>
              <a:gd name="connsiteY4" fmla="*/ 2961006 h 5416763"/>
              <a:gd name="connsiteX5" fmla="*/ 8030702 w 9056018"/>
              <a:gd name="connsiteY5" fmla="*/ 5416763 h 5416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056018" h="5416763">
                <a:moveTo>
                  <a:pt x="8030702" y="5416763"/>
                </a:moveTo>
                <a:lnTo>
                  <a:pt x="0" y="5413376"/>
                </a:lnTo>
                <a:lnTo>
                  <a:pt x="2269286" y="0"/>
                </a:lnTo>
                <a:lnTo>
                  <a:pt x="9056017" y="0"/>
                </a:lnTo>
                <a:cubicBezTo>
                  <a:pt x="9056017" y="1028912"/>
                  <a:pt x="9056018" y="1932094"/>
                  <a:pt x="9056018" y="2961006"/>
                </a:cubicBezTo>
                <a:lnTo>
                  <a:pt x="8030702" y="5416763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>
                <a:latin typeface="Segoe UI Semilight" panose="020B0402040204020203" pitchFamily="34" charset="0"/>
              </a:defRPr>
            </a:lvl1pPr>
          </a:lstStyle>
          <a:p>
            <a:r>
              <a:rPr lang="de-DE" dirty="0"/>
              <a:t>Abbildung hier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76200" y="1979613"/>
            <a:ext cx="3859213" cy="5953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76200" y="1363663"/>
            <a:ext cx="3859213" cy="61595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9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92703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ohne_Bild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76200" y="1979613"/>
            <a:ext cx="3859213" cy="5953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76200" y="1363663"/>
            <a:ext cx="3859213" cy="61595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6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15582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leitung_Disku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76200" y="1979613"/>
            <a:ext cx="3859213" cy="5953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76200" y="1363663"/>
            <a:ext cx="3859213" cy="61595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/>
          <a:srcRect r="5525" b="12843"/>
          <a:stretch/>
        </p:blipFill>
        <p:spPr>
          <a:xfrm>
            <a:off x="1261534" y="2901960"/>
            <a:ext cx="10930466" cy="3956040"/>
          </a:xfrm>
          <a:prstGeom prst="rect">
            <a:avLst/>
          </a:prstGeom>
        </p:spPr>
      </p:pic>
      <p:sp>
        <p:nvSpPr>
          <p:cNvPr id="9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2741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5383212" y="1700213"/>
            <a:ext cx="6473507" cy="46626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b="0" baseline="0"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Inhalt 1</a:t>
            </a:r>
          </a:p>
          <a:p>
            <a:pPr lvl="0"/>
            <a:r>
              <a:rPr lang="de-DE" dirty="0"/>
              <a:t>Inhalt 2</a:t>
            </a:r>
          </a:p>
          <a:p>
            <a:pPr lvl="0"/>
            <a:r>
              <a:rPr lang="de-DE" dirty="0"/>
              <a:t>Inhalt 3</a:t>
            </a:r>
          </a:p>
        </p:txBody>
      </p:sp>
      <p:sp>
        <p:nvSpPr>
          <p:cNvPr id="17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54000" y="1700213"/>
            <a:ext cx="4026171" cy="4662621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50000"/>
              </a:lnSpc>
              <a:buNone/>
              <a:defRPr sz="1800" b="0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Uhrzeit 1</a:t>
            </a:r>
          </a:p>
          <a:p>
            <a:pPr lvl="0"/>
            <a:r>
              <a:rPr lang="de-DE" dirty="0"/>
              <a:t>Uhrzeit 2</a:t>
            </a:r>
          </a:p>
          <a:p>
            <a:pPr lvl="0"/>
            <a:r>
              <a:rPr lang="de-DE" dirty="0"/>
              <a:t>Uhrzeit 3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383213" y="8439"/>
            <a:ext cx="5646737" cy="1333133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kern="1200" dirty="0">
                <a:solidFill>
                  <a:srgbClr val="356CA5"/>
                </a:solidFill>
                <a:latin typeface="Segoe UI Semilight" panose="020B04020402040202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298721" y="8439"/>
            <a:ext cx="3981450" cy="1332999"/>
          </a:xfrm>
          <a:prstGeom prst="rect">
            <a:avLst/>
          </a:prstGeom>
        </p:spPr>
        <p:txBody>
          <a:bodyPr anchor="ctr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kern="1200" dirty="0">
                <a:solidFill>
                  <a:schemeClr val="bg1"/>
                </a:solidFill>
                <a:latin typeface="Segoe UI Semilight" panose="020B04020402040202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Uhrzeit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383212" y="6356350"/>
            <a:ext cx="5837237" cy="3714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de-DE" sz="2400" b="1" dirty="0">
                <a:solidFill>
                  <a:srgbClr val="356CA5"/>
                </a:solidFill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de-DE" dirty="0"/>
              <a:t>Fazit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11391132" y="6357875"/>
            <a:ext cx="655200" cy="3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A989E3-AE74-4E67-83E2-3A01BDA6C6B0}" type="slidenum">
              <a:rPr lang="de-DE" sz="1400" kern="1200" noProof="0" smtClean="0">
                <a:solidFill>
                  <a:srgbClr val="356CA5"/>
                </a:solidFill>
                <a:latin typeface="Segoe UI Semilight" panose="020B04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sz="1400" kern="1200" noProof="0" dirty="0">
              <a:solidFill>
                <a:srgbClr val="356CA5"/>
              </a:solidFill>
              <a:latin typeface="Segoe UI Semilight" panose="020B04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83566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9"/>
          <p:cNvSpPr>
            <a:spLocks noGrp="1"/>
          </p:cNvSpPr>
          <p:nvPr>
            <p:ph type="pic" sz="quarter" idx="11" hasCustomPrompt="1"/>
          </p:nvPr>
        </p:nvSpPr>
        <p:spPr>
          <a:xfrm>
            <a:off x="5534024" y="1006792"/>
            <a:ext cx="6505575" cy="36917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Segoe UI Semilight" panose="020B0402040204020203" pitchFamily="34" charset="0"/>
              </a:defRPr>
            </a:lvl1pPr>
          </a:lstStyle>
          <a:p>
            <a:r>
              <a:rPr lang="de-DE" dirty="0"/>
              <a:t>Abbildung</a:t>
            </a:r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506321" y="4859945"/>
            <a:ext cx="3983129" cy="17235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 typeface="+mj-lt"/>
              <a:buNone/>
              <a:defRPr sz="1800" b="1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Name</a:t>
            </a:r>
          </a:p>
          <a:p>
            <a:pPr lvl="0"/>
            <a:r>
              <a:rPr lang="de-DE" dirty="0"/>
              <a:t>Telefonnummer</a:t>
            </a:r>
          </a:p>
          <a:p>
            <a:pPr lvl="0"/>
            <a:r>
              <a:rPr lang="de-DE" dirty="0"/>
              <a:t>Email-Adresse</a:t>
            </a:r>
          </a:p>
          <a:p>
            <a:pPr lvl="0"/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617045" y="1006791"/>
            <a:ext cx="3691707" cy="3691707"/>
          </a:xfrm>
          <a:prstGeom prst="rect">
            <a:avLst/>
          </a:prstGeom>
          <a:ln w="28575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baseline="0">
                <a:latin typeface="Segoe UI Semilight" panose="020B0402040204020203" pitchFamily="34" charset="0"/>
              </a:defRPr>
            </a:lvl1pPr>
          </a:lstStyle>
          <a:p>
            <a:r>
              <a:rPr lang="de-DE" dirty="0"/>
              <a:t>Foto des/der Vortragenden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5441110" y="4783746"/>
            <a:ext cx="6563565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latin typeface="Segoe UI Semilight" panose="020B0402040204020203" pitchFamily="34" charset="0"/>
              </a:rPr>
              <a:t>Forschungsstelle für Energiewirtschaft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Segoe UI Semilight" panose="020B0402040204020203" pitchFamily="34" charset="0"/>
              </a:rPr>
              <a:t>Am</a:t>
            </a:r>
            <a:r>
              <a:rPr lang="de-DE" sz="1600" baseline="0" dirty="0">
                <a:latin typeface="Segoe UI Semilight" panose="020B0402040204020203" pitchFamily="34" charset="0"/>
              </a:rPr>
              <a:t> Blütenanger 71 </a:t>
            </a:r>
            <a:r>
              <a:rPr lang="en-DE" sz="1600" baseline="0" dirty="0">
                <a:latin typeface="Segoe UI Semilight" panose="020B0402040204020203" pitchFamily="34" charset="0"/>
              </a:rPr>
              <a:t>–</a:t>
            </a:r>
            <a:r>
              <a:rPr lang="de-DE" sz="1600" baseline="0" dirty="0">
                <a:latin typeface="Segoe UI Semilight" panose="020B0402040204020203" pitchFamily="34" charset="0"/>
              </a:rPr>
              <a:t> 80995 München</a:t>
            </a:r>
          </a:p>
          <a:p>
            <a:r>
              <a:rPr lang="de-DE" sz="1600" baseline="0" dirty="0">
                <a:latin typeface="Segoe UI Semilight" panose="020B0402040204020203" pitchFamily="34" charset="0"/>
              </a:rPr>
              <a:t>Tel.: 	+49(0)89 15 81 21 – 0</a:t>
            </a:r>
          </a:p>
          <a:p>
            <a:r>
              <a:rPr lang="de-DE" sz="1600" baseline="0" dirty="0">
                <a:latin typeface="Segoe UI Semilight" panose="020B0402040204020203" pitchFamily="34" charset="0"/>
              </a:rPr>
              <a:t>Email:	</a:t>
            </a:r>
            <a:r>
              <a:rPr lang="de-DE" sz="1600" baseline="0" dirty="0">
                <a:latin typeface="Segoe UI Semilight" panose="020B0402040204020203" pitchFamily="34" charset="0"/>
                <a:hlinkClick r:id="rId2"/>
              </a:rPr>
              <a:t>info@ffe.de</a:t>
            </a:r>
            <a:endParaRPr lang="de-DE" sz="1600" baseline="0" dirty="0">
              <a:latin typeface="Segoe UI Semilight" panose="020B0402040204020203" pitchFamily="34" charset="0"/>
            </a:endParaRPr>
          </a:p>
          <a:p>
            <a:r>
              <a:rPr lang="de-DE" sz="1600" dirty="0">
                <a:latin typeface="Segoe UI Semilight" panose="020B0402040204020203" pitchFamily="34" charset="0"/>
              </a:rPr>
              <a:t>Internet:	</a:t>
            </a:r>
            <a:r>
              <a:rPr lang="de-DE" sz="1600" dirty="0">
                <a:latin typeface="Segoe UI Semilight" panose="020B0402040204020203" pitchFamily="34" charset="0"/>
                <a:hlinkClick r:id="rId3"/>
              </a:rPr>
              <a:t>www.ffe.de</a:t>
            </a:r>
            <a:endParaRPr lang="de-DE" sz="1600" dirty="0">
              <a:latin typeface="Segoe UI Semilight" panose="020B0402040204020203" pitchFamily="34" charset="0"/>
            </a:endParaRPr>
          </a:p>
          <a:p>
            <a:r>
              <a:rPr lang="de-DE" sz="1600" dirty="0">
                <a:latin typeface="Segoe UI Semilight" panose="020B0402040204020203" pitchFamily="34" charset="0"/>
              </a:rPr>
              <a:t>Twitter:	@</a:t>
            </a:r>
            <a:r>
              <a:rPr lang="de-DE" sz="1600" dirty="0" err="1">
                <a:latin typeface="Segoe UI Semilight" panose="020B0402040204020203" pitchFamily="34" charset="0"/>
              </a:rPr>
              <a:t>FfE_Muenchen</a:t>
            </a:r>
            <a:endParaRPr lang="de-DE" sz="1600" dirty="0">
              <a:latin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83003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5383212" y="1700213"/>
            <a:ext cx="6473507" cy="46626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b="0" baseline="0"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Inhalt 1</a:t>
            </a:r>
          </a:p>
          <a:p>
            <a:pPr lvl="0"/>
            <a:r>
              <a:rPr lang="de-DE" dirty="0"/>
              <a:t>Inhalt 2</a:t>
            </a:r>
          </a:p>
          <a:p>
            <a:pPr lvl="0"/>
            <a:r>
              <a:rPr lang="de-DE" dirty="0"/>
              <a:t>Inhalt 3</a:t>
            </a:r>
          </a:p>
        </p:txBody>
      </p:sp>
      <p:sp>
        <p:nvSpPr>
          <p:cNvPr id="17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54000" y="1700213"/>
            <a:ext cx="4026171" cy="4662621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50000"/>
              </a:lnSpc>
              <a:buNone/>
              <a:defRPr sz="1800" b="0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Uhrzeit 1</a:t>
            </a:r>
          </a:p>
          <a:p>
            <a:pPr lvl="0"/>
            <a:r>
              <a:rPr lang="de-DE" dirty="0"/>
              <a:t>Uhrzeit 2</a:t>
            </a:r>
          </a:p>
          <a:p>
            <a:pPr lvl="0"/>
            <a:r>
              <a:rPr lang="de-DE" dirty="0"/>
              <a:t>Uhrzeit 3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383213" y="8439"/>
            <a:ext cx="5646737" cy="1333133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kern="1200" dirty="0">
                <a:solidFill>
                  <a:srgbClr val="356CA5"/>
                </a:solidFill>
                <a:latin typeface="Segoe UI Semilight" panose="020B04020402040202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298721" y="8439"/>
            <a:ext cx="3981450" cy="1332999"/>
          </a:xfrm>
          <a:prstGeom prst="rect">
            <a:avLst/>
          </a:prstGeom>
        </p:spPr>
        <p:txBody>
          <a:bodyPr anchor="ctr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kern="1200" dirty="0">
                <a:solidFill>
                  <a:schemeClr val="bg1"/>
                </a:solidFill>
                <a:latin typeface="Segoe UI Semilight" panose="020B04020402040202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Uhrzeit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383212" y="6356350"/>
            <a:ext cx="5837237" cy="3714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de-DE" sz="2400" b="1" dirty="0">
                <a:solidFill>
                  <a:srgbClr val="356CA5"/>
                </a:solidFill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de-DE" dirty="0"/>
              <a:t>Fazit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11391132" y="6357875"/>
            <a:ext cx="655200" cy="3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A989E3-AE74-4E67-83E2-3A01BDA6C6B0}" type="slidenum">
              <a:rPr lang="de-DE" sz="1400" kern="1200" noProof="0" smtClean="0">
                <a:solidFill>
                  <a:srgbClr val="356CA5"/>
                </a:solidFill>
                <a:latin typeface="Segoe UI Semilight" panose="020B04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sz="1400" kern="1200" noProof="0" dirty="0">
              <a:solidFill>
                <a:srgbClr val="356CA5"/>
              </a:solidFill>
              <a:latin typeface="Segoe UI Semilight" panose="020B04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21321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9"/>
          <p:cNvSpPr>
            <a:spLocks noGrp="1"/>
          </p:cNvSpPr>
          <p:nvPr>
            <p:ph type="pic" sz="quarter" idx="11" hasCustomPrompt="1"/>
          </p:nvPr>
        </p:nvSpPr>
        <p:spPr>
          <a:xfrm>
            <a:off x="5534024" y="1006792"/>
            <a:ext cx="6505575" cy="36917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Segoe UI Semilight" panose="020B0402040204020203" pitchFamily="34" charset="0"/>
              </a:defRPr>
            </a:lvl1pPr>
          </a:lstStyle>
          <a:p>
            <a:r>
              <a:rPr lang="de-DE" dirty="0"/>
              <a:t>Abbildung</a:t>
            </a:r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506321" y="4859945"/>
            <a:ext cx="3983129" cy="17235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 typeface="+mj-lt"/>
              <a:buNone/>
              <a:defRPr sz="1800" b="1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Name</a:t>
            </a:r>
          </a:p>
          <a:p>
            <a:pPr lvl="0"/>
            <a:r>
              <a:rPr lang="de-DE" dirty="0"/>
              <a:t>Telefonnummer</a:t>
            </a:r>
          </a:p>
          <a:p>
            <a:pPr lvl="0"/>
            <a:r>
              <a:rPr lang="de-DE" dirty="0"/>
              <a:t>Email-Adresse</a:t>
            </a:r>
          </a:p>
          <a:p>
            <a:pPr lvl="0"/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617045" y="1006791"/>
            <a:ext cx="3691707" cy="3691707"/>
          </a:xfrm>
          <a:prstGeom prst="rect">
            <a:avLst/>
          </a:prstGeom>
          <a:ln w="28575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baseline="0">
                <a:latin typeface="Segoe UI Semilight" panose="020B0402040204020203" pitchFamily="34" charset="0"/>
              </a:defRPr>
            </a:lvl1pPr>
          </a:lstStyle>
          <a:p>
            <a:r>
              <a:rPr lang="de-DE" dirty="0"/>
              <a:t>Foto des/der Vortragenden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5441110" y="4783746"/>
            <a:ext cx="6563565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latin typeface="Segoe UI Semilight" panose="020B0402040204020203" pitchFamily="34" charset="0"/>
              </a:rPr>
              <a:t>Forschungsstelle für Energiewirtschaft e. V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Segoe UI Semilight" panose="020B0402040204020203" pitchFamily="34" charset="0"/>
              </a:rPr>
              <a:t>Am</a:t>
            </a:r>
            <a:r>
              <a:rPr lang="de-DE" sz="1600" baseline="0" dirty="0">
                <a:latin typeface="Segoe UI Semilight" panose="020B0402040204020203" pitchFamily="34" charset="0"/>
              </a:rPr>
              <a:t> Blütenanger 71 </a:t>
            </a:r>
            <a:r>
              <a:rPr lang="en-DE" sz="1600" baseline="0" dirty="0">
                <a:latin typeface="Segoe UI Semilight" panose="020B0402040204020203" pitchFamily="34" charset="0"/>
              </a:rPr>
              <a:t>–</a:t>
            </a:r>
            <a:r>
              <a:rPr lang="de-DE" sz="1600" baseline="0" dirty="0">
                <a:latin typeface="Segoe UI Semilight" panose="020B0402040204020203" pitchFamily="34" charset="0"/>
              </a:rPr>
              <a:t> 80995 München</a:t>
            </a:r>
          </a:p>
          <a:p>
            <a:r>
              <a:rPr lang="de-DE" sz="1600" baseline="0" dirty="0">
                <a:latin typeface="Segoe UI Semilight" panose="020B0402040204020203" pitchFamily="34" charset="0"/>
              </a:rPr>
              <a:t>Tel.: 	+49(0)89 15 81 21 – 0</a:t>
            </a:r>
          </a:p>
          <a:p>
            <a:r>
              <a:rPr lang="de-DE" sz="1600" baseline="0" dirty="0">
                <a:latin typeface="Segoe UI Semilight" panose="020B0402040204020203" pitchFamily="34" charset="0"/>
              </a:rPr>
              <a:t>Email:	</a:t>
            </a:r>
            <a:r>
              <a:rPr lang="de-DE" sz="1600" baseline="0" dirty="0">
                <a:latin typeface="Segoe UI Semilight" panose="020B0402040204020203" pitchFamily="34" charset="0"/>
                <a:hlinkClick r:id="rId2"/>
              </a:rPr>
              <a:t>info@ffe.de</a:t>
            </a:r>
            <a:endParaRPr lang="de-DE" sz="1600" baseline="0" dirty="0">
              <a:latin typeface="Segoe UI Semilight" panose="020B0402040204020203" pitchFamily="34" charset="0"/>
            </a:endParaRPr>
          </a:p>
          <a:p>
            <a:r>
              <a:rPr lang="de-DE" sz="1600" dirty="0">
                <a:latin typeface="Segoe UI Semilight" panose="020B0402040204020203" pitchFamily="34" charset="0"/>
              </a:rPr>
              <a:t>Internet:	</a:t>
            </a:r>
            <a:r>
              <a:rPr lang="de-DE" sz="1600" dirty="0">
                <a:latin typeface="Segoe UI Semilight" panose="020B0402040204020203" pitchFamily="34" charset="0"/>
                <a:hlinkClick r:id="rId3"/>
              </a:rPr>
              <a:t>www.ffe.de</a:t>
            </a:r>
            <a:endParaRPr lang="de-DE" sz="1600" dirty="0">
              <a:latin typeface="Segoe UI Semilight" panose="020B0402040204020203" pitchFamily="34" charset="0"/>
            </a:endParaRPr>
          </a:p>
          <a:p>
            <a:r>
              <a:rPr lang="de-DE" sz="1600" dirty="0">
                <a:latin typeface="Segoe UI Semilight" panose="020B0402040204020203" pitchFamily="34" charset="0"/>
              </a:rPr>
              <a:t>Twitter:	@</a:t>
            </a:r>
            <a:r>
              <a:rPr lang="de-DE" sz="1600" dirty="0" err="1">
                <a:latin typeface="Segoe UI Semilight" panose="020B0402040204020203" pitchFamily="34" charset="0"/>
              </a:rPr>
              <a:t>FfE_Muenchen</a:t>
            </a:r>
            <a:endParaRPr lang="de-DE" sz="1600" dirty="0">
              <a:latin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10863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4607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Sechseck 43"/>
          <p:cNvSpPr/>
          <p:nvPr userDrawn="1"/>
        </p:nvSpPr>
        <p:spPr>
          <a:xfrm rot="10800000">
            <a:off x="621271" y="330483"/>
            <a:ext cx="1490134" cy="1286933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Sechseck 44"/>
          <p:cNvSpPr/>
          <p:nvPr userDrawn="1"/>
        </p:nvSpPr>
        <p:spPr>
          <a:xfrm rot="10800000">
            <a:off x="2981520" y="2006871"/>
            <a:ext cx="1490134" cy="1286933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 11"/>
          <p:cNvSpPr/>
          <p:nvPr userDrawn="1"/>
        </p:nvSpPr>
        <p:spPr>
          <a:xfrm>
            <a:off x="0" y="3281615"/>
            <a:ext cx="6470658" cy="3576385"/>
          </a:xfrm>
          <a:custGeom>
            <a:avLst/>
            <a:gdLst>
              <a:gd name="connsiteX0" fmla="*/ 0 w 6470658"/>
              <a:gd name="connsiteY0" fmla="*/ 0 h 3576385"/>
              <a:gd name="connsiteX1" fmla="*/ 6470658 w 6470658"/>
              <a:gd name="connsiteY1" fmla="*/ 2260388 h 3576385"/>
              <a:gd name="connsiteX2" fmla="*/ 5880866 w 6470658"/>
              <a:gd name="connsiteY2" fmla="*/ 3576385 h 3576385"/>
              <a:gd name="connsiteX3" fmla="*/ 0 w 6470658"/>
              <a:gd name="connsiteY3" fmla="*/ 3576385 h 3576385"/>
              <a:gd name="connsiteX4" fmla="*/ 0 w 6470658"/>
              <a:gd name="connsiteY4" fmla="*/ 0 h 3576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0658" h="3576385">
                <a:moveTo>
                  <a:pt x="0" y="0"/>
                </a:moveTo>
                <a:lnTo>
                  <a:pt x="6470658" y="2260388"/>
                </a:lnTo>
                <a:lnTo>
                  <a:pt x="5880866" y="3576385"/>
                </a:lnTo>
                <a:lnTo>
                  <a:pt x="0" y="357638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82549" y="5865807"/>
            <a:ext cx="5563339" cy="47625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sz="1800" dirty="0"/>
              <a:t>Vortragender/Vortragende</a:t>
            </a:r>
            <a:endParaRPr lang="de-DE" dirty="0"/>
          </a:p>
        </p:txBody>
      </p:sp>
      <p:sp>
        <p:nvSpPr>
          <p:cNvPr id="24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861641" y="481412"/>
            <a:ext cx="1009394" cy="985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de-DE" dirty="0"/>
              <a:t>Icon</a:t>
            </a:r>
          </a:p>
        </p:txBody>
      </p:sp>
      <p:sp>
        <p:nvSpPr>
          <p:cNvPr id="2" name="Freihandform 1"/>
          <p:cNvSpPr/>
          <p:nvPr userDrawn="1"/>
        </p:nvSpPr>
        <p:spPr>
          <a:xfrm>
            <a:off x="2108200" y="862554"/>
            <a:ext cx="1625600" cy="1211779"/>
          </a:xfrm>
          <a:custGeom>
            <a:avLst/>
            <a:gdLst>
              <a:gd name="connsiteX0" fmla="*/ 0 w 1617133"/>
              <a:gd name="connsiteY0" fmla="*/ 85713 h 1110179"/>
              <a:gd name="connsiteX1" fmla="*/ 1109133 w 1617133"/>
              <a:gd name="connsiteY1" fmla="*/ 102646 h 1110179"/>
              <a:gd name="connsiteX2" fmla="*/ 1617133 w 1617133"/>
              <a:gd name="connsiteY2" fmla="*/ 1110179 h 1110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17133" h="1110179">
                <a:moveTo>
                  <a:pt x="0" y="85713"/>
                </a:moveTo>
                <a:cubicBezTo>
                  <a:pt x="419805" y="8807"/>
                  <a:pt x="839611" y="-68098"/>
                  <a:pt x="1109133" y="102646"/>
                </a:cubicBezTo>
                <a:cubicBezTo>
                  <a:pt x="1378655" y="273390"/>
                  <a:pt x="1521177" y="808201"/>
                  <a:pt x="1617133" y="1110179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Freihandform 22"/>
          <p:cNvSpPr/>
          <p:nvPr userDrawn="1"/>
        </p:nvSpPr>
        <p:spPr>
          <a:xfrm rot="8428697">
            <a:off x="4194577" y="2414509"/>
            <a:ext cx="2238816" cy="1127611"/>
          </a:xfrm>
          <a:custGeom>
            <a:avLst/>
            <a:gdLst>
              <a:gd name="connsiteX0" fmla="*/ 0 w 1617133"/>
              <a:gd name="connsiteY0" fmla="*/ 85713 h 1110179"/>
              <a:gd name="connsiteX1" fmla="*/ 1109133 w 1617133"/>
              <a:gd name="connsiteY1" fmla="*/ 102646 h 1110179"/>
              <a:gd name="connsiteX2" fmla="*/ 1617133 w 1617133"/>
              <a:gd name="connsiteY2" fmla="*/ 1110179 h 1110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17133" h="1110179">
                <a:moveTo>
                  <a:pt x="0" y="85713"/>
                </a:moveTo>
                <a:cubicBezTo>
                  <a:pt x="419805" y="8807"/>
                  <a:pt x="839611" y="-68098"/>
                  <a:pt x="1109133" y="102646"/>
                </a:cubicBezTo>
                <a:cubicBezTo>
                  <a:pt x="1378655" y="273390"/>
                  <a:pt x="1521177" y="808201"/>
                  <a:pt x="1617133" y="1110179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Bogen 4"/>
          <p:cNvSpPr/>
          <p:nvPr userDrawn="1"/>
        </p:nvSpPr>
        <p:spPr>
          <a:xfrm flipV="1">
            <a:off x="7292013" y="511022"/>
            <a:ext cx="2126906" cy="2212788"/>
          </a:xfrm>
          <a:prstGeom prst="arc">
            <a:avLst>
              <a:gd name="adj1" fmla="val 14913343"/>
              <a:gd name="adj2" fmla="val 21452973"/>
            </a:avLst>
          </a:pr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28" name="Freihandform 27"/>
          <p:cNvSpPr/>
          <p:nvPr userDrawn="1"/>
        </p:nvSpPr>
        <p:spPr>
          <a:xfrm>
            <a:off x="10141955" y="1022467"/>
            <a:ext cx="1165382" cy="1294865"/>
          </a:xfrm>
          <a:custGeom>
            <a:avLst/>
            <a:gdLst>
              <a:gd name="connsiteX0" fmla="*/ 0 w 1188740"/>
              <a:gd name="connsiteY0" fmla="*/ 0 h 1253067"/>
              <a:gd name="connsiteX1" fmla="*/ 999067 w 1188740"/>
              <a:gd name="connsiteY1" fmla="*/ 457200 h 1253067"/>
              <a:gd name="connsiteX2" fmla="*/ 1185333 w 1188740"/>
              <a:gd name="connsiteY2" fmla="*/ 1253067 h 1253067"/>
              <a:gd name="connsiteX0" fmla="*/ 0 w 1137602"/>
              <a:gd name="connsiteY0" fmla="*/ 0 h 1226011"/>
              <a:gd name="connsiteX1" fmla="*/ 947929 w 1137602"/>
              <a:gd name="connsiteY1" fmla="*/ 430144 h 1226011"/>
              <a:gd name="connsiteX2" fmla="*/ 1134195 w 1137602"/>
              <a:gd name="connsiteY2" fmla="*/ 1226011 h 1226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7602" h="1226011">
                <a:moveTo>
                  <a:pt x="0" y="0"/>
                </a:moveTo>
                <a:cubicBezTo>
                  <a:pt x="400756" y="124178"/>
                  <a:pt x="750374" y="221300"/>
                  <a:pt x="947929" y="430144"/>
                </a:cubicBezTo>
                <a:cubicBezTo>
                  <a:pt x="1145484" y="638988"/>
                  <a:pt x="1144073" y="912744"/>
                  <a:pt x="1134195" y="1226011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9" name="Ellipse 28"/>
          <p:cNvSpPr/>
          <p:nvPr userDrawn="1"/>
        </p:nvSpPr>
        <p:spPr>
          <a:xfrm>
            <a:off x="3893149" y="1788850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Ellipse 29"/>
          <p:cNvSpPr/>
          <p:nvPr userDrawn="1"/>
        </p:nvSpPr>
        <p:spPr>
          <a:xfrm>
            <a:off x="3502220" y="1788850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Ellipse 30"/>
          <p:cNvSpPr/>
          <p:nvPr userDrawn="1"/>
        </p:nvSpPr>
        <p:spPr>
          <a:xfrm>
            <a:off x="1867046" y="746505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Ellipse 31"/>
          <p:cNvSpPr/>
          <p:nvPr userDrawn="1"/>
        </p:nvSpPr>
        <p:spPr>
          <a:xfrm>
            <a:off x="8433217" y="791893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Ellipse 32"/>
          <p:cNvSpPr/>
          <p:nvPr userDrawn="1"/>
        </p:nvSpPr>
        <p:spPr>
          <a:xfrm>
            <a:off x="7748403" y="2434393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Ellipse 33"/>
          <p:cNvSpPr/>
          <p:nvPr userDrawn="1"/>
        </p:nvSpPr>
        <p:spPr>
          <a:xfrm>
            <a:off x="6226528" y="2434393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Ellipse 34"/>
          <p:cNvSpPr/>
          <p:nvPr userDrawn="1"/>
        </p:nvSpPr>
        <p:spPr>
          <a:xfrm>
            <a:off x="3916942" y="3036877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Ellipse 35"/>
          <p:cNvSpPr/>
          <p:nvPr userDrawn="1"/>
        </p:nvSpPr>
        <p:spPr>
          <a:xfrm>
            <a:off x="11082866" y="2076984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Ellipse 37"/>
          <p:cNvSpPr/>
          <p:nvPr userDrawn="1"/>
        </p:nvSpPr>
        <p:spPr>
          <a:xfrm>
            <a:off x="9183057" y="1465263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3221890" y="2157800"/>
            <a:ext cx="1009394" cy="985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de-DE" dirty="0"/>
              <a:t>Icon</a:t>
            </a:r>
          </a:p>
        </p:txBody>
      </p: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610" y="3715921"/>
            <a:ext cx="729760" cy="535157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>
          <a:xfrm>
            <a:off x="2316163" y="6356350"/>
            <a:ext cx="3329726" cy="36512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reihandform 3"/>
          <p:cNvSpPr/>
          <p:nvPr userDrawn="1"/>
        </p:nvSpPr>
        <p:spPr>
          <a:xfrm>
            <a:off x="4098355" y="993890"/>
            <a:ext cx="4580901" cy="1019105"/>
          </a:xfrm>
          <a:custGeom>
            <a:avLst/>
            <a:gdLst>
              <a:gd name="connsiteX0" fmla="*/ 0 w 4650941"/>
              <a:gd name="connsiteY0" fmla="*/ 1287296 h 1287296"/>
              <a:gd name="connsiteX1" fmla="*/ 1526193 w 4650941"/>
              <a:gd name="connsiteY1" fmla="*/ 162386 h 1287296"/>
              <a:gd name="connsiteX2" fmla="*/ 4650941 w 4650941"/>
              <a:gd name="connsiteY2" fmla="*/ 30818 h 1287296"/>
              <a:gd name="connsiteX0" fmla="*/ 0 w 4687491"/>
              <a:gd name="connsiteY0" fmla="*/ 1287297 h 1287297"/>
              <a:gd name="connsiteX1" fmla="*/ 1526193 w 4687491"/>
              <a:gd name="connsiteY1" fmla="*/ 162387 h 1287297"/>
              <a:gd name="connsiteX2" fmla="*/ 4687491 w 4687491"/>
              <a:gd name="connsiteY2" fmla="*/ 30818 h 1287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87491" h="1287297">
                <a:moveTo>
                  <a:pt x="0" y="1287297"/>
                </a:moveTo>
                <a:cubicBezTo>
                  <a:pt x="375518" y="829548"/>
                  <a:pt x="751036" y="371800"/>
                  <a:pt x="1526193" y="162387"/>
                </a:cubicBezTo>
                <a:cubicBezTo>
                  <a:pt x="2301350" y="-47026"/>
                  <a:pt x="3512695" y="-8105"/>
                  <a:pt x="4687491" y="30818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48" name="Sechseck 47"/>
          <p:cNvSpPr/>
          <p:nvPr userDrawn="1"/>
        </p:nvSpPr>
        <p:spPr>
          <a:xfrm rot="10800000">
            <a:off x="6461711" y="2000822"/>
            <a:ext cx="1490134" cy="1286933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702081" y="2151751"/>
            <a:ext cx="1009394" cy="985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de-DE" dirty="0"/>
              <a:t>Icon</a:t>
            </a:r>
          </a:p>
        </p:txBody>
      </p:sp>
      <p:sp>
        <p:nvSpPr>
          <p:cNvPr id="50" name="Sechseck 49"/>
          <p:cNvSpPr/>
          <p:nvPr userDrawn="1"/>
        </p:nvSpPr>
        <p:spPr>
          <a:xfrm rot="10800000">
            <a:off x="8662357" y="385861"/>
            <a:ext cx="1490134" cy="1286933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Bildplatzhalter 6"/>
          <p:cNvSpPr>
            <a:spLocks noGrp="1"/>
          </p:cNvSpPr>
          <p:nvPr>
            <p:ph type="pic" sz="quarter" idx="19" hasCustomPrompt="1"/>
          </p:nvPr>
        </p:nvSpPr>
        <p:spPr>
          <a:xfrm>
            <a:off x="8902727" y="536790"/>
            <a:ext cx="1009394" cy="985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de-DE" dirty="0"/>
              <a:t>Icon</a:t>
            </a:r>
          </a:p>
        </p:txBody>
      </p:sp>
      <p:sp>
        <p:nvSpPr>
          <p:cNvPr id="52" name="Sechseck 51"/>
          <p:cNvSpPr/>
          <p:nvPr userDrawn="1"/>
        </p:nvSpPr>
        <p:spPr>
          <a:xfrm rot="10800000">
            <a:off x="10558195" y="2313410"/>
            <a:ext cx="1490134" cy="1286933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10798565" y="2464339"/>
            <a:ext cx="1009394" cy="985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de-DE" dirty="0"/>
              <a:t>Icon</a:t>
            </a:r>
          </a:p>
        </p:txBody>
      </p:sp>
      <p:sp>
        <p:nvSpPr>
          <p:cNvPr id="37" name="Ellipse 36"/>
          <p:cNvSpPr/>
          <p:nvPr userDrawn="1"/>
        </p:nvSpPr>
        <p:spPr>
          <a:xfrm>
            <a:off x="9903818" y="809193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82548" y="4485216"/>
            <a:ext cx="5563339" cy="1297555"/>
          </a:xfrm>
          <a:custGeom>
            <a:avLst/>
            <a:gdLst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3339 w 5563339"/>
              <a:gd name="connsiteY2" fmla="*/ 1297184 h 1297184"/>
              <a:gd name="connsiteX3" fmla="*/ 0 w 5563339"/>
              <a:gd name="connsiteY3" fmla="*/ 1297184 h 1297184"/>
              <a:gd name="connsiteX4" fmla="*/ 0 w 5563339"/>
              <a:gd name="connsiteY4" fmla="*/ 0 h 1297184"/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2602 w 5563339"/>
              <a:gd name="connsiteY2" fmla="*/ 770095 h 1297184"/>
              <a:gd name="connsiteX3" fmla="*/ 5563339 w 5563339"/>
              <a:gd name="connsiteY3" fmla="*/ 1297184 h 1297184"/>
              <a:gd name="connsiteX4" fmla="*/ 0 w 5563339"/>
              <a:gd name="connsiteY4" fmla="*/ 1297184 h 1297184"/>
              <a:gd name="connsiteX5" fmla="*/ 0 w 5563339"/>
              <a:gd name="connsiteY5" fmla="*/ 0 h 1297184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3339 w 5563339"/>
              <a:gd name="connsiteY2" fmla="*/ 371 h 1297555"/>
              <a:gd name="connsiteX3" fmla="*/ 5562602 w 5563339"/>
              <a:gd name="connsiteY3" fmla="*/ 770466 h 1297555"/>
              <a:gd name="connsiteX4" fmla="*/ 5563339 w 5563339"/>
              <a:gd name="connsiteY4" fmla="*/ 1297555 h 1297555"/>
              <a:gd name="connsiteX5" fmla="*/ 0 w 5563339"/>
              <a:gd name="connsiteY5" fmla="*/ 1297555 h 1297555"/>
              <a:gd name="connsiteX6" fmla="*/ 0 w 5563339"/>
              <a:gd name="connsiteY6" fmla="*/ 371 h 1297555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2602 w 5563339"/>
              <a:gd name="connsiteY2" fmla="*/ 770466 h 1297555"/>
              <a:gd name="connsiteX3" fmla="*/ 5563339 w 5563339"/>
              <a:gd name="connsiteY3" fmla="*/ 1297555 h 1297555"/>
              <a:gd name="connsiteX4" fmla="*/ 0 w 5563339"/>
              <a:gd name="connsiteY4" fmla="*/ 1297555 h 1297555"/>
              <a:gd name="connsiteX5" fmla="*/ 0 w 5563339"/>
              <a:gd name="connsiteY5" fmla="*/ 371 h 129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3339" h="1297555">
                <a:moveTo>
                  <a:pt x="0" y="371"/>
                </a:moveTo>
                <a:lnTo>
                  <a:pt x="3361269" y="0"/>
                </a:lnTo>
                <a:lnTo>
                  <a:pt x="5562602" y="770466"/>
                </a:lnTo>
                <a:cubicBezTo>
                  <a:pt x="5562848" y="946162"/>
                  <a:pt x="5563093" y="1121859"/>
                  <a:pt x="5563339" y="1297555"/>
                </a:cubicBezTo>
                <a:lnTo>
                  <a:pt x="0" y="1297555"/>
                </a:lnTo>
                <a:lnTo>
                  <a:pt x="0" y="371"/>
                </a:lnTo>
                <a:close/>
              </a:path>
            </a:pathLst>
          </a:custGeom>
        </p:spPr>
        <p:txBody>
          <a:bodyPr wrap="square" anchor="b">
            <a:normAutofit/>
          </a:bodyPr>
          <a:lstStyle>
            <a:lvl1pPr marL="0" indent="0">
              <a:buNone/>
              <a:defRPr lang="de-DE" sz="2800" b="1" baseline="0" dirty="0">
                <a:solidFill>
                  <a:srgbClr val="356CA5"/>
                </a:solidFill>
              </a:defRPr>
            </a:lvl1pPr>
          </a:lstStyle>
          <a:p>
            <a:pPr marL="228600" marR="0" lvl="0" indent="-2286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Mastertextformat bearbeiten</a:t>
            </a:r>
          </a:p>
        </p:txBody>
      </p:sp>
      <p:sp>
        <p:nvSpPr>
          <p:cNvPr id="43" name="Rechtwinkliges Dreieck 42"/>
          <p:cNvSpPr/>
          <p:nvPr userDrawn="1"/>
        </p:nvSpPr>
        <p:spPr>
          <a:xfrm flipH="1">
            <a:off x="11138666" y="4514283"/>
            <a:ext cx="1053333" cy="2350293"/>
          </a:xfrm>
          <a:prstGeom prst="rtTriangle">
            <a:avLst/>
          </a:prstGeom>
          <a:solidFill>
            <a:schemeClr val="accent5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0455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winkliges Dreieck 8"/>
          <p:cNvSpPr/>
          <p:nvPr userDrawn="1"/>
        </p:nvSpPr>
        <p:spPr>
          <a:xfrm flipH="1">
            <a:off x="11138666" y="4514283"/>
            <a:ext cx="1053333" cy="2350293"/>
          </a:xfrm>
          <a:prstGeom prst="rtTriangle">
            <a:avLst/>
          </a:prstGeom>
          <a:solidFill>
            <a:schemeClr val="accent5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dirty="0"/>
          </a:p>
        </p:txBody>
      </p:sp>
      <p:sp>
        <p:nvSpPr>
          <p:cNvPr id="12" name="Freihandform 11"/>
          <p:cNvSpPr/>
          <p:nvPr userDrawn="1"/>
        </p:nvSpPr>
        <p:spPr>
          <a:xfrm>
            <a:off x="0" y="3281615"/>
            <a:ext cx="6470658" cy="3576385"/>
          </a:xfrm>
          <a:custGeom>
            <a:avLst/>
            <a:gdLst>
              <a:gd name="connsiteX0" fmla="*/ 0 w 6470658"/>
              <a:gd name="connsiteY0" fmla="*/ 0 h 3576385"/>
              <a:gd name="connsiteX1" fmla="*/ 6470658 w 6470658"/>
              <a:gd name="connsiteY1" fmla="*/ 2260388 h 3576385"/>
              <a:gd name="connsiteX2" fmla="*/ 5880866 w 6470658"/>
              <a:gd name="connsiteY2" fmla="*/ 3576385 h 3576385"/>
              <a:gd name="connsiteX3" fmla="*/ 0 w 6470658"/>
              <a:gd name="connsiteY3" fmla="*/ 3576385 h 3576385"/>
              <a:gd name="connsiteX4" fmla="*/ 0 w 6470658"/>
              <a:gd name="connsiteY4" fmla="*/ 0 h 3576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0658" h="3576385">
                <a:moveTo>
                  <a:pt x="0" y="0"/>
                </a:moveTo>
                <a:lnTo>
                  <a:pt x="6470658" y="2260388"/>
                </a:lnTo>
                <a:lnTo>
                  <a:pt x="5880866" y="3576385"/>
                </a:lnTo>
                <a:lnTo>
                  <a:pt x="0" y="357638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82549" y="5865807"/>
            <a:ext cx="5563339" cy="47625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sz="1800" dirty="0"/>
              <a:t>Vortragender/Vortragende</a:t>
            </a:r>
            <a:endParaRPr lang="de-DE" dirty="0"/>
          </a:p>
        </p:txBody>
      </p:sp>
      <p:sp>
        <p:nvSpPr>
          <p:cNvPr id="24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>
          <a:xfrm>
            <a:off x="2316163" y="6356350"/>
            <a:ext cx="3329726" cy="36512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0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82548" y="4485216"/>
            <a:ext cx="5563339" cy="1297555"/>
          </a:xfrm>
          <a:custGeom>
            <a:avLst/>
            <a:gdLst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3339 w 5563339"/>
              <a:gd name="connsiteY2" fmla="*/ 1297184 h 1297184"/>
              <a:gd name="connsiteX3" fmla="*/ 0 w 5563339"/>
              <a:gd name="connsiteY3" fmla="*/ 1297184 h 1297184"/>
              <a:gd name="connsiteX4" fmla="*/ 0 w 5563339"/>
              <a:gd name="connsiteY4" fmla="*/ 0 h 1297184"/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2602 w 5563339"/>
              <a:gd name="connsiteY2" fmla="*/ 770095 h 1297184"/>
              <a:gd name="connsiteX3" fmla="*/ 5563339 w 5563339"/>
              <a:gd name="connsiteY3" fmla="*/ 1297184 h 1297184"/>
              <a:gd name="connsiteX4" fmla="*/ 0 w 5563339"/>
              <a:gd name="connsiteY4" fmla="*/ 1297184 h 1297184"/>
              <a:gd name="connsiteX5" fmla="*/ 0 w 5563339"/>
              <a:gd name="connsiteY5" fmla="*/ 0 h 1297184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3339 w 5563339"/>
              <a:gd name="connsiteY2" fmla="*/ 371 h 1297555"/>
              <a:gd name="connsiteX3" fmla="*/ 5562602 w 5563339"/>
              <a:gd name="connsiteY3" fmla="*/ 770466 h 1297555"/>
              <a:gd name="connsiteX4" fmla="*/ 5563339 w 5563339"/>
              <a:gd name="connsiteY4" fmla="*/ 1297555 h 1297555"/>
              <a:gd name="connsiteX5" fmla="*/ 0 w 5563339"/>
              <a:gd name="connsiteY5" fmla="*/ 1297555 h 1297555"/>
              <a:gd name="connsiteX6" fmla="*/ 0 w 5563339"/>
              <a:gd name="connsiteY6" fmla="*/ 371 h 1297555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2602 w 5563339"/>
              <a:gd name="connsiteY2" fmla="*/ 770466 h 1297555"/>
              <a:gd name="connsiteX3" fmla="*/ 5563339 w 5563339"/>
              <a:gd name="connsiteY3" fmla="*/ 1297555 h 1297555"/>
              <a:gd name="connsiteX4" fmla="*/ 0 w 5563339"/>
              <a:gd name="connsiteY4" fmla="*/ 1297555 h 1297555"/>
              <a:gd name="connsiteX5" fmla="*/ 0 w 5563339"/>
              <a:gd name="connsiteY5" fmla="*/ 371 h 129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3339" h="1297555">
                <a:moveTo>
                  <a:pt x="0" y="371"/>
                </a:moveTo>
                <a:lnTo>
                  <a:pt x="3361269" y="0"/>
                </a:lnTo>
                <a:lnTo>
                  <a:pt x="5562602" y="770466"/>
                </a:lnTo>
                <a:cubicBezTo>
                  <a:pt x="5562848" y="946162"/>
                  <a:pt x="5563093" y="1121859"/>
                  <a:pt x="5563339" y="1297555"/>
                </a:cubicBezTo>
                <a:lnTo>
                  <a:pt x="0" y="1297555"/>
                </a:lnTo>
                <a:lnTo>
                  <a:pt x="0" y="371"/>
                </a:lnTo>
                <a:close/>
              </a:path>
            </a:pathLst>
          </a:custGeom>
        </p:spPr>
        <p:txBody>
          <a:bodyPr wrap="square" anchor="b">
            <a:normAutofit/>
          </a:bodyPr>
          <a:lstStyle>
            <a:lvl1pPr marL="0" indent="0">
              <a:buNone/>
              <a:defRPr lang="de-DE" sz="2800" b="1" baseline="0" dirty="0">
                <a:solidFill>
                  <a:srgbClr val="356CA5"/>
                </a:solidFill>
              </a:defRPr>
            </a:lvl1pPr>
          </a:lstStyle>
          <a:p>
            <a:pPr marL="228600" marR="0" lvl="0" indent="-2286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Mastertextformat bearbeiten</a:t>
            </a:r>
          </a:p>
        </p:txBody>
      </p:sp>
      <p:sp>
        <p:nvSpPr>
          <p:cNvPr id="42" name="Freihandform 41"/>
          <p:cNvSpPr/>
          <p:nvPr userDrawn="1"/>
        </p:nvSpPr>
        <p:spPr>
          <a:xfrm>
            <a:off x="3163802" y="2052787"/>
            <a:ext cx="2539270" cy="454736"/>
          </a:xfrm>
          <a:custGeom>
            <a:avLst/>
            <a:gdLst>
              <a:gd name="connsiteX0" fmla="*/ 0 w 2539270"/>
              <a:gd name="connsiteY0" fmla="*/ 0 h 454736"/>
              <a:gd name="connsiteX1" fmla="*/ 592058 w 2539270"/>
              <a:gd name="connsiteY1" fmla="*/ 453911 h 454736"/>
              <a:gd name="connsiteX2" fmla="*/ 1828800 w 2539270"/>
              <a:gd name="connsiteY2" fmla="*/ 111833 h 454736"/>
              <a:gd name="connsiteX3" fmla="*/ 2539270 w 2539270"/>
              <a:gd name="connsiteY3" fmla="*/ 105255 h 45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39270" h="454736">
                <a:moveTo>
                  <a:pt x="0" y="0"/>
                </a:moveTo>
                <a:cubicBezTo>
                  <a:pt x="143629" y="217636"/>
                  <a:pt x="287258" y="435272"/>
                  <a:pt x="592058" y="453911"/>
                </a:cubicBezTo>
                <a:cubicBezTo>
                  <a:pt x="896858" y="472550"/>
                  <a:pt x="1504265" y="169942"/>
                  <a:pt x="1828800" y="111833"/>
                </a:cubicBezTo>
                <a:cubicBezTo>
                  <a:pt x="2153335" y="53724"/>
                  <a:pt x="2346302" y="79489"/>
                  <a:pt x="2539270" y="105255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43" name="Sechseck 42"/>
          <p:cNvSpPr/>
          <p:nvPr userDrawn="1"/>
        </p:nvSpPr>
        <p:spPr>
          <a:xfrm rot="10800000">
            <a:off x="9017501" y="1808383"/>
            <a:ext cx="1490134" cy="1286933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6" name="Sechseck 45"/>
          <p:cNvSpPr/>
          <p:nvPr userDrawn="1"/>
        </p:nvSpPr>
        <p:spPr>
          <a:xfrm rot="10800000">
            <a:off x="5703987" y="1524615"/>
            <a:ext cx="1490134" cy="1286933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Sechseck 46"/>
          <p:cNvSpPr/>
          <p:nvPr userDrawn="1"/>
        </p:nvSpPr>
        <p:spPr>
          <a:xfrm rot="10800000">
            <a:off x="2067964" y="763524"/>
            <a:ext cx="1490134" cy="1286933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5944356" y="1675543"/>
            <a:ext cx="1009394" cy="985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de-DE" dirty="0"/>
              <a:t>Icon</a:t>
            </a:r>
          </a:p>
        </p:txBody>
      </p:sp>
      <p:sp>
        <p:nvSpPr>
          <p:cNvPr id="5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2308334" y="914453"/>
            <a:ext cx="1009394" cy="985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de-DE" dirty="0"/>
              <a:t>Icon</a:t>
            </a:r>
          </a:p>
        </p:txBody>
      </p:sp>
      <p:sp>
        <p:nvSpPr>
          <p:cNvPr id="56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9257871" y="1959311"/>
            <a:ext cx="1009394" cy="985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de-DE" dirty="0"/>
              <a:t>Icon</a:t>
            </a:r>
          </a:p>
        </p:txBody>
      </p:sp>
      <p:sp>
        <p:nvSpPr>
          <p:cNvPr id="57" name="Ellipse 56"/>
          <p:cNvSpPr/>
          <p:nvPr userDrawn="1"/>
        </p:nvSpPr>
        <p:spPr>
          <a:xfrm>
            <a:off x="2941132" y="1844617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Ellipse 57"/>
          <p:cNvSpPr/>
          <p:nvPr userDrawn="1"/>
        </p:nvSpPr>
        <p:spPr>
          <a:xfrm>
            <a:off x="5476707" y="1947948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Ellipse 58"/>
          <p:cNvSpPr/>
          <p:nvPr userDrawn="1"/>
        </p:nvSpPr>
        <p:spPr>
          <a:xfrm>
            <a:off x="6623038" y="2591414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Ellipse 59"/>
          <p:cNvSpPr/>
          <p:nvPr userDrawn="1"/>
        </p:nvSpPr>
        <p:spPr>
          <a:xfrm>
            <a:off x="8793134" y="2231715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Freihandform 60"/>
          <p:cNvSpPr/>
          <p:nvPr userDrawn="1"/>
        </p:nvSpPr>
        <p:spPr>
          <a:xfrm>
            <a:off x="6821402" y="2443246"/>
            <a:ext cx="2190613" cy="701844"/>
          </a:xfrm>
          <a:custGeom>
            <a:avLst/>
            <a:gdLst>
              <a:gd name="connsiteX0" fmla="*/ 0 w 2190613"/>
              <a:gd name="connsiteY0" fmla="*/ 372638 h 701844"/>
              <a:gd name="connsiteX1" fmla="*/ 453911 w 2190613"/>
              <a:gd name="connsiteY1" fmla="*/ 694980 h 701844"/>
              <a:gd name="connsiteX2" fmla="*/ 1124910 w 2190613"/>
              <a:gd name="connsiteY2" fmla="*/ 102923 h 701844"/>
              <a:gd name="connsiteX3" fmla="*/ 2190613 w 2190613"/>
              <a:gd name="connsiteY3" fmla="*/ 4246 h 701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0613" h="701844">
                <a:moveTo>
                  <a:pt x="0" y="372638"/>
                </a:moveTo>
                <a:cubicBezTo>
                  <a:pt x="133213" y="556285"/>
                  <a:pt x="266426" y="739933"/>
                  <a:pt x="453911" y="694980"/>
                </a:cubicBezTo>
                <a:cubicBezTo>
                  <a:pt x="641396" y="650028"/>
                  <a:pt x="835460" y="218045"/>
                  <a:pt x="1124910" y="102923"/>
                </a:cubicBezTo>
                <a:cubicBezTo>
                  <a:pt x="1414360" y="-12199"/>
                  <a:pt x="1802486" y="-3977"/>
                  <a:pt x="2190613" y="4246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610" y="3715921"/>
            <a:ext cx="729760" cy="535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382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 11"/>
          <p:cNvSpPr/>
          <p:nvPr userDrawn="1"/>
        </p:nvSpPr>
        <p:spPr>
          <a:xfrm>
            <a:off x="0" y="3281615"/>
            <a:ext cx="6470658" cy="3576385"/>
          </a:xfrm>
          <a:custGeom>
            <a:avLst/>
            <a:gdLst>
              <a:gd name="connsiteX0" fmla="*/ 0 w 6470658"/>
              <a:gd name="connsiteY0" fmla="*/ 0 h 3576385"/>
              <a:gd name="connsiteX1" fmla="*/ 6470658 w 6470658"/>
              <a:gd name="connsiteY1" fmla="*/ 2260388 h 3576385"/>
              <a:gd name="connsiteX2" fmla="*/ 5880866 w 6470658"/>
              <a:gd name="connsiteY2" fmla="*/ 3576385 h 3576385"/>
              <a:gd name="connsiteX3" fmla="*/ 0 w 6470658"/>
              <a:gd name="connsiteY3" fmla="*/ 3576385 h 3576385"/>
              <a:gd name="connsiteX4" fmla="*/ 0 w 6470658"/>
              <a:gd name="connsiteY4" fmla="*/ 0 h 3576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0658" h="3576385">
                <a:moveTo>
                  <a:pt x="0" y="0"/>
                </a:moveTo>
                <a:lnTo>
                  <a:pt x="6470658" y="2260388"/>
                </a:lnTo>
                <a:lnTo>
                  <a:pt x="5880866" y="3576385"/>
                </a:lnTo>
                <a:lnTo>
                  <a:pt x="0" y="357638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82549" y="5865807"/>
            <a:ext cx="5563339" cy="47625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sz="1800" dirty="0"/>
              <a:t>Vortragender/Vortragende</a:t>
            </a:r>
            <a:endParaRPr lang="de-DE" dirty="0"/>
          </a:p>
        </p:txBody>
      </p:sp>
      <p:sp>
        <p:nvSpPr>
          <p:cNvPr id="24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>
          <a:xfrm>
            <a:off x="2316163" y="6356350"/>
            <a:ext cx="3329726" cy="36512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0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82548" y="4485216"/>
            <a:ext cx="5563339" cy="1297555"/>
          </a:xfrm>
          <a:custGeom>
            <a:avLst/>
            <a:gdLst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3339 w 5563339"/>
              <a:gd name="connsiteY2" fmla="*/ 1297184 h 1297184"/>
              <a:gd name="connsiteX3" fmla="*/ 0 w 5563339"/>
              <a:gd name="connsiteY3" fmla="*/ 1297184 h 1297184"/>
              <a:gd name="connsiteX4" fmla="*/ 0 w 5563339"/>
              <a:gd name="connsiteY4" fmla="*/ 0 h 1297184"/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2602 w 5563339"/>
              <a:gd name="connsiteY2" fmla="*/ 770095 h 1297184"/>
              <a:gd name="connsiteX3" fmla="*/ 5563339 w 5563339"/>
              <a:gd name="connsiteY3" fmla="*/ 1297184 h 1297184"/>
              <a:gd name="connsiteX4" fmla="*/ 0 w 5563339"/>
              <a:gd name="connsiteY4" fmla="*/ 1297184 h 1297184"/>
              <a:gd name="connsiteX5" fmla="*/ 0 w 5563339"/>
              <a:gd name="connsiteY5" fmla="*/ 0 h 1297184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3339 w 5563339"/>
              <a:gd name="connsiteY2" fmla="*/ 371 h 1297555"/>
              <a:gd name="connsiteX3" fmla="*/ 5562602 w 5563339"/>
              <a:gd name="connsiteY3" fmla="*/ 770466 h 1297555"/>
              <a:gd name="connsiteX4" fmla="*/ 5563339 w 5563339"/>
              <a:gd name="connsiteY4" fmla="*/ 1297555 h 1297555"/>
              <a:gd name="connsiteX5" fmla="*/ 0 w 5563339"/>
              <a:gd name="connsiteY5" fmla="*/ 1297555 h 1297555"/>
              <a:gd name="connsiteX6" fmla="*/ 0 w 5563339"/>
              <a:gd name="connsiteY6" fmla="*/ 371 h 1297555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2602 w 5563339"/>
              <a:gd name="connsiteY2" fmla="*/ 770466 h 1297555"/>
              <a:gd name="connsiteX3" fmla="*/ 5563339 w 5563339"/>
              <a:gd name="connsiteY3" fmla="*/ 1297555 h 1297555"/>
              <a:gd name="connsiteX4" fmla="*/ 0 w 5563339"/>
              <a:gd name="connsiteY4" fmla="*/ 1297555 h 1297555"/>
              <a:gd name="connsiteX5" fmla="*/ 0 w 5563339"/>
              <a:gd name="connsiteY5" fmla="*/ 371 h 129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3339" h="1297555">
                <a:moveTo>
                  <a:pt x="0" y="371"/>
                </a:moveTo>
                <a:lnTo>
                  <a:pt x="3361269" y="0"/>
                </a:lnTo>
                <a:lnTo>
                  <a:pt x="5562602" y="770466"/>
                </a:lnTo>
                <a:cubicBezTo>
                  <a:pt x="5562848" y="946162"/>
                  <a:pt x="5563093" y="1121859"/>
                  <a:pt x="5563339" y="1297555"/>
                </a:cubicBezTo>
                <a:lnTo>
                  <a:pt x="0" y="1297555"/>
                </a:lnTo>
                <a:lnTo>
                  <a:pt x="0" y="371"/>
                </a:lnTo>
                <a:close/>
              </a:path>
            </a:pathLst>
          </a:custGeom>
        </p:spPr>
        <p:txBody>
          <a:bodyPr wrap="square" anchor="b">
            <a:normAutofit/>
          </a:bodyPr>
          <a:lstStyle>
            <a:lvl1pPr marL="0" indent="0">
              <a:buNone/>
              <a:defRPr lang="de-DE" sz="2800" b="1" baseline="0" dirty="0">
                <a:solidFill>
                  <a:srgbClr val="356CA5"/>
                </a:solidFill>
              </a:defRPr>
            </a:lvl1pPr>
          </a:lstStyle>
          <a:p>
            <a:pPr marL="228600" marR="0" lvl="0" indent="-2286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Mastertextformat bearbeiten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610" y="3715921"/>
            <a:ext cx="729760" cy="535157"/>
          </a:xfrm>
          <a:prstGeom prst="rect">
            <a:avLst/>
          </a:prstGeom>
        </p:spPr>
      </p:pic>
      <p:sp>
        <p:nvSpPr>
          <p:cNvPr id="14" name="Rechtwinkliges Dreieck 13"/>
          <p:cNvSpPr/>
          <p:nvPr userDrawn="1"/>
        </p:nvSpPr>
        <p:spPr>
          <a:xfrm flipH="1">
            <a:off x="11138666" y="4514283"/>
            <a:ext cx="1053333" cy="2350293"/>
          </a:xfrm>
          <a:prstGeom prst="rtTriangle">
            <a:avLst/>
          </a:prstGeom>
          <a:solidFill>
            <a:schemeClr val="accent5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dirty="0"/>
          </a:p>
        </p:txBody>
      </p:sp>
      <p:sp>
        <p:nvSpPr>
          <p:cNvPr id="10" name="Parallelogramm 9"/>
          <p:cNvSpPr/>
          <p:nvPr userDrawn="1"/>
        </p:nvSpPr>
        <p:spPr>
          <a:xfrm>
            <a:off x="5904655" y="5546090"/>
            <a:ext cx="5799666" cy="1312333"/>
          </a:xfrm>
          <a:prstGeom prst="parallelogram">
            <a:avLst>
              <a:gd name="adj" fmla="val 45045"/>
            </a:avLst>
          </a:prstGeom>
          <a:solidFill>
            <a:schemeClr val="bg1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25" r="24327" b="9604"/>
          <a:stretch/>
        </p:blipFill>
        <p:spPr>
          <a:xfrm>
            <a:off x="9784530" y="5556146"/>
            <a:ext cx="1349363" cy="1275153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6563360" y="5546090"/>
            <a:ext cx="2296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In Kooperation mit:</a:t>
            </a:r>
          </a:p>
        </p:txBody>
      </p:sp>
    </p:spTree>
    <p:extLst>
      <p:ext uri="{BB962C8B-B14F-4D97-AF65-F5344CB8AC3E}">
        <p14:creationId xmlns:p14="http://schemas.microsoft.com/office/powerpoint/2010/main" val="9670140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766763" y="1844675"/>
            <a:ext cx="10433185" cy="4511676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1pPr>
            <a:lvl2pPr marL="7429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2pPr>
            <a:lvl3pPr marL="12001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3pPr>
            <a:lvl4pPr marL="16573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4pPr>
            <a:lvl5pPr>
              <a:defRPr sz="14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3845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481" userDrawn="1">
          <p15:clr>
            <a:srgbClr val="FBAE40"/>
          </p15:clr>
        </p15:guide>
        <p15:guide id="5" pos="7061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766763" y="1844675"/>
            <a:ext cx="6943142" cy="4511676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1pPr>
            <a:lvl2pPr marL="7429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2pPr>
            <a:lvl3pPr marL="12001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3pPr>
            <a:lvl4pPr marL="16573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4pPr>
            <a:lvl5pPr>
              <a:defRPr sz="14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7767817" y="2483582"/>
            <a:ext cx="3446806" cy="323386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9342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481">
          <p15:clr>
            <a:srgbClr val="FBAE40"/>
          </p15:clr>
        </p15:guide>
        <p15:guide id="5" pos="706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76499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385317"/>
            <a:ext cx="5161510" cy="435914"/>
          </a:xfrm>
          <a:prstGeom prst="rect">
            <a:avLst/>
          </a:prstGeom>
        </p:spPr>
        <p:txBody>
          <a:bodyPr anchor="b"/>
          <a:lstStyle>
            <a:lvl1pPr marL="0" indent="0" algn="ctr">
              <a:buClr>
                <a:srgbClr val="356CA5"/>
              </a:buClr>
              <a:buFont typeface="Symbol" panose="05050102010706020507" pitchFamily="18" charset="2"/>
              <a:buNone/>
              <a:defRPr sz="2000" b="1">
                <a:latin typeface="Segoe UI Semilight" panose="020B0402040204020203" pitchFamily="34" charset="0"/>
              </a:defRPr>
            </a:lvl1pPr>
            <a:lvl2pPr marL="742950" indent="-285750">
              <a:buClr>
                <a:srgbClr val="356CA5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buClr>
                <a:srgbClr val="356CA5"/>
              </a:buClr>
              <a:buFont typeface="Wingdings" panose="05000000000000000000" pitchFamily="2" charset="2"/>
              <a:buChar char="§"/>
              <a:defRPr sz="1600"/>
            </a:lvl3pPr>
            <a:lvl4pPr marL="1600200" indent="-228600">
              <a:buClr>
                <a:srgbClr val="356CA5"/>
              </a:buClr>
              <a:buFont typeface="Courier New" panose="02070309020205020404" pitchFamily="49" charset="0"/>
              <a:buChar char="o"/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Vergleichsobjekt 1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6053075" y="1385317"/>
            <a:ext cx="5162400" cy="435914"/>
          </a:xfrm>
          <a:prstGeom prst="rect">
            <a:avLst/>
          </a:prstGeom>
        </p:spPr>
        <p:txBody>
          <a:bodyPr anchor="b"/>
          <a:lstStyle>
            <a:lvl1pPr marL="0" indent="0" algn="ctr">
              <a:buClr>
                <a:srgbClr val="356CA5"/>
              </a:buClr>
              <a:buFont typeface="Symbol" panose="05050102010706020507" pitchFamily="18" charset="2"/>
              <a:buNone/>
              <a:defRPr sz="2000" b="1">
                <a:latin typeface="Segoe UI Semilight" panose="020B0402040204020203" pitchFamily="34" charset="0"/>
              </a:defRPr>
            </a:lvl1pPr>
            <a:lvl2pPr marL="742950" indent="-285750">
              <a:buClr>
                <a:srgbClr val="356CA5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buClr>
                <a:srgbClr val="356CA5"/>
              </a:buClr>
              <a:buFont typeface="Wingdings" panose="05000000000000000000" pitchFamily="2" charset="2"/>
              <a:buChar char="§"/>
              <a:defRPr sz="1600"/>
            </a:lvl3pPr>
            <a:lvl4pPr marL="1600200" indent="-228600">
              <a:buClr>
                <a:srgbClr val="356CA5"/>
              </a:buClr>
              <a:buFont typeface="Courier New" panose="02070309020205020404" pitchFamily="49" charset="0"/>
              <a:buChar char="o"/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Vergleichsobjekt 2</a:t>
            </a:r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766763" y="1838528"/>
            <a:ext cx="5161510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 userDrawn="1"/>
        </p:nvCxnSpPr>
        <p:spPr>
          <a:xfrm>
            <a:off x="6052701" y="1838528"/>
            <a:ext cx="5162400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sz="quarter" idx="16"/>
          </p:nvPr>
        </p:nvSpPr>
        <p:spPr>
          <a:xfrm>
            <a:off x="766763" y="1844675"/>
            <a:ext cx="5161510" cy="4511676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1pPr>
            <a:lvl2pPr marL="800100" indent="-342900"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2pPr>
            <a:lvl3pPr marL="1257300" indent="-342900"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3pPr>
            <a:lvl4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4pPr>
            <a:lvl5pPr>
              <a:defRPr sz="20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7"/>
          </p:nvPr>
        </p:nvSpPr>
        <p:spPr>
          <a:xfrm>
            <a:off x="6052224" y="1844675"/>
            <a:ext cx="5162400" cy="4511676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1pPr>
            <a:lvl2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2pPr>
            <a:lvl3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3pPr>
            <a:lvl4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57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_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844675"/>
            <a:ext cx="5161510" cy="431598"/>
          </a:xfrm>
          <a:prstGeom prst="rect">
            <a:avLst/>
          </a:prstGeom>
        </p:spPr>
        <p:txBody>
          <a:bodyPr anchor="b"/>
          <a:lstStyle>
            <a:lvl1pPr marL="0" indent="0" algn="ctr">
              <a:buClr>
                <a:srgbClr val="356CA5"/>
              </a:buClr>
              <a:buFont typeface="Symbol" panose="05050102010706020507" pitchFamily="18" charset="2"/>
              <a:buNone/>
              <a:defRPr sz="2000" b="1">
                <a:latin typeface="Segoe UI Semilight" panose="020B0402040204020203" pitchFamily="34" charset="0"/>
              </a:defRPr>
            </a:lvl1pPr>
            <a:lvl2pPr marL="742950" indent="-285750">
              <a:buClr>
                <a:srgbClr val="356CA5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buClr>
                <a:srgbClr val="356CA5"/>
              </a:buClr>
              <a:buFont typeface="Wingdings" panose="05000000000000000000" pitchFamily="2" charset="2"/>
              <a:buChar char="§"/>
              <a:defRPr sz="1600"/>
            </a:lvl3pPr>
            <a:lvl4pPr marL="1600200" indent="-228600">
              <a:buClr>
                <a:srgbClr val="356CA5"/>
              </a:buClr>
              <a:buFont typeface="Courier New" panose="02070309020205020404" pitchFamily="49" charset="0"/>
              <a:buChar char="o"/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Vergleichsobjekt 1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6053075" y="1844675"/>
            <a:ext cx="5162400" cy="431598"/>
          </a:xfrm>
          <a:prstGeom prst="rect">
            <a:avLst/>
          </a:prstGeom>
        </p:spPr>
        <p:txBody>
          <a:bodyPr anchor="b"/>
          <a:lstStyle>
            <a:lvl1pPr marL="0" indent="0" algn="ctr">
              <a:buClr>
                <a:srgbClr val="356CA5"/>
              </a:buClr>
              <a:buFont typeface="Symbol" panose="05050102010706020507" pitchFamily="18" charset="2"/>
              <a:buNone/>
              <a:defRPr sz="2000" b="1">
                <a:latin typeface="Segoe UI Semilight" panose="020B0402040204020203" pitchFamily="34" charset="0"/>
              </a:defRPr>
            </a:lvl1pPr>
            <a:lvl2pPr marL="742950" indent="-285750">
              <a:buClr>
                <a:srgbClr val="356CA5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buClr>
                <a:srgbClr val="356CA5"/>
              </a:buClr>
              <a:buFont typeface="Wingdings" panose="05000000000000000000" pitchFamily="2" charset="2"/>
              <a:buChar char="§"/>
              <a:defRPr sz="1600"/>
            </a:lvl3pPr>
            <a:lvl4pPr marL="1600200" indent="-228600">
              <a:buClr>
                <a:srgbClr val="356CA5"/>
              </a:buClr>
              <a:buFont typeface="Courier New" panose="02070309020205020404" pitchFamily="49" charset="0"/>
              <a:buChar char="o"/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Vergleichsobjekt 2</a:t>
            </a:r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766763" y="2295728"/>
            <a:ext cx="5161510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 userDrawn="1"/>
        </p:nvCxnSpPr>
        <p:spPr>
          <a:xfrm>
            <a:off x="6052701" y="2295728"/>
            <a:ext cx="5162400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sz="quarter" idx="16"/>
          </p:nvPr>
        </p:nvSpPr>
        <p:spPr>
          <a:xfrm>
            <a:off x="766763" y="2379663"/>
            <a:ext cx="5161510" cy="397668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1pPr>
            <a:lvl2pPr marL="800100" indent="-342900"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2pPr>
            <a:lvl3pPr marL="1257300" indent="-342900"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3pPr>
            <a:lvl4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4pPr>
            <a:lvl5pPr>
              <a:defRPr sz="20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7"/>
          </p:nvPr>
        </p:nvSpPr>
        <p:spPr>
          <a:xfrm>
            <a:off x="6052224" y="2379663"/>
            <a:ext cx="5162400" cy="397668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1pPr>
            <a:lvl2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2pPr>
            <a:lvl3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3pPr>
            <a:lvl4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59299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8.xml"/><Relationship Id="rId9" Type="http://schemas.openxmlformats.org/officeDocument/2006/relationships/theme" Target="../theme/theme2.xml"/><Relationship Id="rId14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5.bin"/><Relationship Id="rId5" Type="http://schemas.openxmlformats.org/officeDocument/2006/relationships/tags" Target="../tags/tag8.xml"/><Relationship Id="rId4" Type="http://schemas.openxmlformats.org/officeDocument/2006/relationships/theme" Target="../theme/theme3.xml"/><Relationship Id="rId9" Type="http://schemas.openxmlformats.org/officeDocument/2006/relationships/image" Target="../media/image7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tags" Target="../tags/tag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17025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47" imgH="348" progId="TCLayout.ActiveDocument.1">
                  <p:embed/>
                </p:oleObj>
              </mc:Choice>
              <mc:Fallback>
                <p:oleObj name="think-cell Folie" r:id="rId7" imgW="347" imgH="348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2316162" y="6356350"/>
            <a:ext cx="33509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de-DE"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4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399"/>
          <a:stretch/>
        </p:blipFill>
        <p:spPr>
          <a:xfrm>
            <a:off x="0" y="-1"/>
            <a:ext cx="12192000" cy="6861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425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29" r:id="rId2"/>
    <p:sldLayoutId id="2147483730" r:id="rId3"/>
    <p:sldLayoutId id="2147483732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372407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47" imgH="348" progId="TCLayout.ActiveDocument.1">
                  <p:embed/>
                </p:oleObj>
              </mc:Choice>
              <mc:Fallback>
                <p:oleObj name="think-cell Folie" r:id="rId12" imgW="347" imgH="348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800" b="1" i="0" baseline="0" dirty="0">
              <a:latin typeface="Segoe UI Semilight" panose="020B0402040204020203" pitchFamily="34" charset="0"/>
              <a:ea typeface="+mj-ea"/>
              <a:cs typeface="+mj-cs"/>
              <a:sym typeface="Segoe UI Semilight" panose="020B0402040204020203" pitchFamily="34" charset="0"/>
            </a:endParaRPr>
          </a:p>
        </p:txBody>
      </p:sp>
      <p:sp>
        <p:nvSpPr>
          <p:cNvPr id="9" name="Rechtwinkliges Dreieck 8"/>
          <p:cNvSpPr/>
          <p:nvPr userDrawn="1"/>
        </p:nvSpPr>
        <p:spPr>
          <a:xfrm flipH="1">
            <a:off x="11138666" y="4514283"/>
            <a:ext cx="1053333" cy="2350293"/>
          </a:xfrm>
          <a:prstGeom prst="rtTriangle">
            <a:avLst/>
          </a:prstGeom>
          <a:gradFill>
            <a:gsLst>
              <a:gs pos="0">
                <a:schemeClr val="accent5"/>
              </a:gs>
              <a:gs pos="60000">
                <a:srgbClr val="6A97C4">
                  <a:alpha val="89804"/>
                </a:srgbClr>
              </a:gs>
              <a:gs pos="100000">
                <a:schemeClr val="accent3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Segoe UI Semilight" panose="020B0402040204020203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66763" y="8447"/>
            <a:ext cx="1044786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Überschrift ein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66763" y="1844675"/>
            <a:ext cx="10447862" cy="45005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5" y="254644"/>
            <a:ext cx="760908" cy="558000"/>
          </a:xfrm>
          <a:prstGeom prst="rect">
            <a:avLst/>
          </a:prstGeom>
        </p:spPr>
      </p:pic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66763" y="6407378"/>
            <a:ext cx="10447861" cy="3789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de-DE" sz="2400" dirty="0">
                <a:solidFill>
                  <a:srgbClr val="356CA5"/>
                </a:solidFill>
              </a:defRPr>
            </a:lvl1pPr>
          </a:lstStyle>
          <a:p>
            <a:pPr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8" name="Rechteck 7"/>
          <p:cNvSpPr/>
          <p:nvPr userDrawn="1"/>
        </p:nvSpPr>
        <p:spPr>
          <a:xfrm>
            <a:off x="11391132" y="6357875"/>
            <a:ext cx="655200" cy="3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A989E3-AE74-4E67-83E2-3A01BDA6C6B0}" type="slidenum">
              <a:rPr lang="de-DE" sz="1400" kern="120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sz="1400" kern="1200" noProof="0" dirty="0">
              <a:solidFill>
                <a:schemeClr val="bg1"/>
              </a:solidFill>
              <a:latin typeface="Segoe UI Semilight" panose="020B04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3450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702" r:id="rId2"/>
    <p:sldLayoutId id="2147483681" r:id="rId3"/>
    <p:sldLayoutId id="2147483701" r:id="rId4"/>
    <p:sldLayoutId id="2147483677" r:id="rId5"/>
    <p:sldLayoutId id="2147483697" r:id="rId6"/>
    <p:sldLayoutId id="2147483680" r:id="rId7"/>
    <p:sldLayoutId id="2147483733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356CA5"/>
          </a:solidFill>
          <a:latin typeface="Segoe UI Semilight" panose="020B0402040204020203" pitchFamily="34" charset="0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061" userDrawn="1">
          <p15:clr>
            <a:srgbClr val="F26B43"/>
          </p15:clr>
        </p15:guide>
        <p15:guide id="3" pos="483" userDrawn="1">
          <p15:clr>
            <a:srgbClr val="F26B43"/>
          </p15:clr>
        </p15:guide>
        <p15:guide id="4" orient="horz" pos="845" userDrawn="1">
          <p15:clr>
            <a:srgbClr val="F26B43"/>
          </p15:clr>
        </p15:guide>
        <p15:guide id="5" orient="horz" pos="3997" userDrawn="1">
          <p15:clr>
            <a:srgbClr val="F26B43"/>
          </p15:clr>
        </p15:guide>
        <p15:guide id="6" orient="horz" pos="116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15153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47" imgH="348" progId="TCLayout.ActiveDocument.1">
                  <p:embed/>
                </p:oleObj>
              </mc:Choice>
              <mc:Fallback>
                <p:oleObj name="think-cell Folie" r:id="rId6" imgW="347" imgH="348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winkliges Dreieck 7"/>
          <p:cNvSpPr/>
          <p:nvPr userDrawn="1"/>
        </p:nvSpPr>
        <p:spPr>
          <a:xfrm flipH="1">
            <a:off x="11138146" y="4514283"/>
            <a:ext cx="1053333" cy="2350293"/>
          </a:xfrm>
          <a:prstGeom prst="rtTriangle">
            <a:avLst/>
          </a:prstGeom>
          <a:gradFill>
            <a:gsLst>
              <a:gs pos="0">
                <a:schemeClr val="accent5"/>
              </a:gs>
              <a:gs pos="60000">
                <a:srgbClr val="6A97C4">
                  <a:alpha val="89804"/>
                </a:srgbClr>
              </a:gs>
              <a:gs pos="100000">
                <a:schemeClr val="accent3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Segoe UI Semilight" panose="020B0402040204020203" pitchFamily="34" charset="0"/>
            </a:endParaRPr>
          </a:p>
        </p:txBody>
      </p:sp>
      <p:sp>
        <p:nvSpPr>
          <p:cNvPr id="11" name="Freihandform 10"/>
          <p:cNvSpPr/>
          <p:nvPr userDrawn="1"/>
        </p:nvSpPr>
        <p:spPr>
          <a:xfrm>
            <a:off x="2885207" y="-1589"/>
            <a:ext cx="9306792" cy="1407600"/>
          </a:xfrm>
          <a:custGeom>
            <a:avLst/>
            <a:gdLst>
              <a:gd name="connsiteX0" fmla="*/ 0 w 9306792"/>
              <a:gd name="connsiteY0" fmla="*/ 0 h 1407600"/>
              <a:gd name="connsiteX1" fmla="*/ 8506691 w 9306792"/>
              <a:gd name="connsiteY1" fmla="*/ 0 h 1407600"/>
              <a:gd name="connsiteX2" fmla="*/ 9306792 w 9306792"/>
              <a:gd name="connsiteY2" fmla="*/ 0 h 1407600"/>
              <a:gd name="connsiteX3" fmla="*/ 9306792 w 9306792"/>
              <a:gd name="connsiteY3" fmla="*/ 1407600 h 1407600"/>
              <a:gd name="connsiteX4" fmla="*/ 8506691 w 9306792"/>
              <a:gd name="connsiteY4" fmla="*/ 1407600 h 1407600"/>
              <a:gd name="connsiteX5" fmla="*/ 1981676 w 9306792"/>
              <a:gd name="connsiteY5" fmla="*/ 1407600 h 1407600"/>
              <a:gd name="connsiteX6" fmla="*/ 0 w 9306792"/>
              <a:gd name="connsiteY6" fmla="*/ 6060 h 140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06792" h="1407600">
                <a:moveTo>
                  <a:pt x="0" y="0"/>
                </a:moveTo>
                <a:lnTo>
                  <a:pt x="8506691" y="0"/>
                </a:lnTo>
                <a:lnTo>
                  <a:pt x="9306792" y="0"/>
                </a:lnTo>
                <a:lnTo>
                  <a:pt x="9306792" y="1407600"/>
                </a:lnTo>
                <a:lnTo>
                  <a:pt x="8506691" y="1407600"/>
                </a:lnTo>
                <a:lnTo>
                  <a:pt x="1981676" y="1407600"/>
                </a:lnTo>
                <a:lnTo>
                  <a:pt x="0" y="60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/>
          </a:p>
        </p:txBody>
      </p:sp>
      <p:sp>
        <p:nvSpPr>
          <p:cNvPr id="6" name="Rechteck 3"/>
          <p:cNvSpPr/>
          <p:nvPr userDrawn="1"/>
        </p:nvSpPr>
        <p:spPr>
          <a:xfrm>
            <a:off x="-1981" y="-1589"/>
            <a:ext cx="4843064" cy="6859589"/>
          </a:xfrm>
          <a:custGeom>
            <a:avLst/>
            <a:gdLst>
              <a:gd name="connsiteX0" fmla="*/ 0 w 4658400"/>
              <a:gd name="connsiteY0" fmla="*/ 0 h 6858000"/>
              <a:gd name="connsiteX1" fmla="*/ 4658400 w 4658400"/>
              <a:gd name="connsiteY1" fmla="*/ 0 h 6858000"/>
              <a:gd name="connsiteX2" fmla="*/ 4658400 w 4658400"/>
              <a:gd name="connsiteY2" fmla="*/ 6858000 h 6858000"/>
              <a:gd name="connsiteX3" fmla="*/ 0 w 4658400"/>
              <a:gd name="connsiteY3" fmla="*/ 6858000 h 6858000"/>
              <a:gd name="connsiteX4" fmla="*/ 0 w 4658400"/>
              <a:gd name="connsiteY4" fmla="*/ 0 h 6858000"/>
              <a:gd name="connsiteX0" fmla="*/ 0 w 4658400"/>
              <a:gd name="connsiteY0" fmla="*/ 0 h 6858000"/>
              <a:gd name="connsiteX1" fmla="*/ 4658400 w 4658400"/>
              <a:gd name="connsiteY1" fmla="*/ 0 h 6858000"/>
              <a:gd name="connsiteX2" fmla="*/ 4655820 w 4658400"/>
              <a:gd name="connsiteY2" fmla="*/ 1699260 h 6858000"/>
              <a:gd name="connsiteX3" fmla="*/ 4658400 w 4658400"/>
              <a:gd name="connsiteY3" fmla="*/ 6858000 h 6858000"/>
              <a:gd name="connsiteX4" fmla="*/ 0 w 4658400"/>
              <a:gd name="connsiteY4" fmla="*/ 6858000 h 6858000"/>
              <a:gd name="connsiteX5" fmla="*/ 0 w 4658400"/>
              <a:gd name="connsiteY5" fmla="*/ 0 h 6858000"/>
              <a:gd name="connsiteX0" fmla="*/ 0 w 6299200"/>
              <a:gd name="connsiteY0" fmla="*/ 0 h 6858000"/>
              <a:gd name="connsiteX1" fmla="*/ 4658400 w 6299200"/>
              <a:gd name="connsiteY1" fmla="*/ 0 h 6858000"/>
              <a:gd name="connsiteX2" fmla="*/ 6299200 w 6299200"/>
              <a:gd name="connsiteY2" fmla="*/ 1706880 h 6858000"/>
              <a:gd name="connsiteX3" fmla="*/ 4658400 w 6299200"/>
              <a:gd name="connsiteY3" fmla="*/ 6858000 h 6858000"/>
              <a:gd name="connsiteX4" fmla="*/ 0 w 6299200"/>
              <a:gd name="connsiteY4" fmla="*/ 6858000 h 6858000"/>
              <a:gd name="connsiteX5" fmla="*/ 0 w 6299200"/>
              <a:gd name="connsiteY5" fmla="*/ 0 h 6858000"/>
              <a:gd name="connsiteX0" fmla="*/ 0 w 6550660"/>
              <a:gd name="connsiteY0" fmla="*/ 0 h 6858000"/>
              <a:gd name="connsiteX1" fmla="*/ 4658400 w 6550660"/>
              <a:gd name="connsiteY1" fmla="*/ 0 h 6858000"/>
              <a:gd name="connsiteX2" fmla="*/ 6550660 w 6550660"/>
              <a:gd name="connsiteY2" fmla="*/ 1704340 h 6858000"/>
              <a:gd name="connsiteX3" fmla="*/ 4658400 w 6550660"/>
              <a:gd name="connsiteY3" fmla="*/ 6858000 h 6858000"/>
              <a:gd name="connsiteX4" fmla="*/ 0 w 6550660"/>
              <a:gd name="connsiteY4" fmla="*/ 6858000 h 6858000"/>
              <a:gd name="connsiteX5" fmla="*/ 0 w 6550660"/>
              <a:gd name="connsiteY5" fmla="*/ 0 h 6858000"/>
              <a:gd name="connsiteX0" fmla="*/ 0 w 6591300"/>
              <a:gd name="connsiteY0" fmla="*/ 0 h 6858000"/>
              <a:gd name="connsiteX1" fmla="*/ 4658400 w 6591300"/>
              <a:gd name="connsiteY1" fmla="*/ 0 h 6858000"/>
              <a:gd name="connsiteX2" fmla="*/ 6591300 w 6591300"/>
              <a:gd name="connsiteY2" fmla="*/ 1440180 h 6858000"/>
              <a:gd name="connsiteX3" fmla="*/ 4658400 w 6591300"/>
              <a:gd name="connsiteY3" fmla="*/ 6858000 h 6858000"/>
              <a:gd name="connsiteX4" fmla="*/ 0 w 6591300"/>
              <a:gd name="connsiteY4" fmla="*/ 6858000 h 6858000"/>
              <a:gd name="connsiteX5" fmla="*/ 0 w 6591300"/>
              <a:gd name="connsiteY5" fmla="*/ 0 h 6858000"/>
              <a:gd name="connsiteX0" fmla="*/ 0 w 6987540"/>
              <a:gd name="connsiteY0" fmla="*/ 0 h 6858000"/>
              <a:gd name="connsiteX1" fmla="*/ 4658400 w 6987540"/>
              <a:gd name="connsiteY1" fmla="*/ 0 h 6858000"/>
              <a:gd name="connsiteX2" fmla="*/ 6987540 w 6987540"/>
              <a:gd name="connsiteY2" fmla="*/ 1165860 h 6858000"/>
              <a:gd name="connsiteX3" fmla="*/ 4658400 w 6987540"/>
              <a:gd name="connsiteY3" fmla="*/ 6858000 h 6858000"/>
              <a:gd name="connsiteX4" fmla="*/ 0 w 6987540"/>
              <a:gd name="connsiteY4" fmla="*/ 6858000 h 6858000"/>
              <a:gd name="connsiteX5" fmla="*/ 0 w 6987540"/>
              <a:gd name="connsiteY5" fmla="*/ 0 h 6858000"/>
              <a:gd name="connsiteX0" fmla="*/ 0 w 7184309"/>
              <a:gd name="connsiteY0" fmla="*/ 0 h 6858000"/>
              <a:gd name="connsiteX1" fmla="*/ 4658400 w 7184309"/>
              <a:gd name="connsiteY1" fmla="*/ 0 h 6858000"/>
              <a:gd name="connsiteX2" fmla="*/ 7184309 w 7184309"/>
              <a:gd name="connsiteY2" fmla="*/ 1258457 h 6858000"/>
              <a:gd name="connsiteX3" fmla="*/ 4658400 w 7184309"/>
              <a:gd name="connsiteY3" fmla="*/ 6858000 h 6858000"/>
              <a:gd name="connsiteX4" fmla="*/ 0 w 7184309"/>
              <a:gd name="connsiteY4" fmla="*/ 6858000 h 6858000"/>
              <a:gd name="connsiteX5" fmla="*/ 0 w 7184309"/>
              <a:gd name="connsiteY5" fmla="*/ 0 h 6858000"/>
              <a:gd name="connsiteX0" fmla="*/ 0 w 7325410"/>
              <a:gd name="connsiteY0" fmla="*/ 0 h 6858000"/>
              <a:gd name="connsiteX1" fmla="*/ 4658400 w 7325410"/>
              <a:gd name="connsiteY1" fmla="*/ 0 h 6858000"/>
              <a:gd name="connsiteX2" fmla="*/ 7325410 w 7325410"/>
              <a:gd name="connsiteY2" fmla="*/ 1426097 h 6858000"/>
              <a:gd name="connsiteX3" fmla="*/ 4658400 w 7325410"/>
              <a:gd name="connsiteY3" fmla="*/ 6858000 h 6858000"/>
              <a:gd name="connsiteX4" fmla="*/ 0 w 7325410"/>
              <a:gd name="connsiteY4" fmla="*/ 6858000 h 6858000"/>
              <a:gd name="connsiteX5" fmla="*/ 0 w 7325410"/>
              <a:gd name="connsiteY5" fmla="*/ 0 h 6858000"/>
              <a:gd name="connsiteX0" fmla="*/ 0 w 7325410"/>
              <a:gd name="connsiteY0" fmla="*/ 0 h 6858000"/>
              <a:gd name="connsiteX1" fmla="*/ 4658400 w 7325410"/>
              <a:gd name="connsiteY1" fmla="*/ 0 h 6858000"/>
              <a:gd name="connsiteX2" fmla="*/ 7325410 w 7325410"/>
              <a:gd name="connsiteY2" fmla="*/ 1426097 h 6858000"/>
              <a:gd name="connsiteX3" fmla="*/ 4077869 w 7325410"/>
              <a:gd name="connsiteY3" fmla="*/ 6858000 h 6858000"/>
              <a:gd name="connsiteX4" fmla="*/ 0 w 7325410"/>
              <a:gd name="connsiteY4" fmla="*/ 6858000 h 6858000"/>
              <a:gd name="connsiteX5" fmla="*/ 0 w 7325410"/>
              <a:gd name="connsiteY5" fmla="*/ 0 h 6858000"/>
              <a:gd name="connsiteX0" fmla="*/ 0 w 7325410"/>
              <a:gd name="connsiteY0" fmla="*/ 1587 h 6859587"/>
              <a:gd name="connsiteX1" fmla="*/ 919679 w 7325410"/>
              <a:gd name="connsiteY1" fmla="*/ 0 h 6859587"/>
              <a:gd name="connsiteX2" fmla="*/ 4658400 w 7325410"/>
              <a:gd name="connsiteY2" fmla="*/ 1587 h 6859587"/>
              <a:gd name="connsiteX3" fmla="*/ 7325410 w 7325410"/>
              <a:gd name="connsiteY3" fmla="*/ 1427684 h 6859587"/>
              <a:gd name="connsiteX4" fmla="*/ 4077869 w 7325410"/>
              <a:gd name="connsiteY4" fmla="*/ 6859587 h 6859587"/>
              <a:gd name="connsiteX5" fmla="*/ 0 w 7325410"/>
              <a:gd name="connsiteY5" fmla="*/ 6859587 h 6859587"/>
              <a:gd name="connsiteX6" fmla="*/ 0 w 7325410"/>
              <a:gd name="connsiteY6" fmla="*/ 1587 h 6859587"/>
              <a:gd name="connsiteX0" fmla="*/ 0 w 7325410"/>
              <a:gd name="connsiteY0" fmla="*/ 1587 h 6859589"/>
              <a:gd name="connsiteX1" fmla="*/ 919679 w 7325410"/>
              <a:gd name="connsiteY1" fmla="*/ 0 h 6859589"/>
              <a:gd name="connsiteX2" fmla="*/ 4658400 w 7325410"/>
              <a:gd name="connsiteY2" fmla="*/ 1587 h 6859589"/>
              <a:gd name="connsiteX3" fmla="*/ 7325410 w 7325410"/>
              <a:gd name="connsiteY3" fmla="*/ 1427684 h 6859589"/>
              <a:gd name="connsiteX4" fmla="*/ 4077869 w 7325410"/>
              <a:gd name="connsiteY4" fmla="*/ 6859587 h 6859589"/>
              <a:gd name="connsiteX5" fmla="*/ 919679 w 7325410"/>
              <a:gd name="connsiteY5" fmla="*/ 6859589 h 6859589"/>
              <a:gd name="connsiteX6" fmla="*/ 0 w 7325410"/>
              <a:gd name="connsiteY6" fmla="*/ 6859587 h 6859589"/>
              <a:gd name="connsiteX7" fmla="*/ 0 w 7325410"/>
              <a:gd name="connsiteY7" fmla="*/ 1587 h 6859589"/>
              <a:gd name="connsiteX0" fmla="*/ 0 w 7325410"/>
              <a:gd name="connsiteY0" fmla="*/ 1587 h 6859589"/>
              <a:gd name="connsiteX1" fmla="*/ 919679 w 7325410"/>
              <a:gd name="connsiteY1" fmla="*/ 0 h 6859589"/>
              <a:gd name="connsiteX2" fmla="*/ 4658400 w 7325410"/>
              <a:gd name="connsiteY2" fmla="*/ 1587 h 6859589"/>
              <a:gd name="connsiteX3" fmla="*/ 7325410 w 7325410"/>
              <a:gd name="connsiteY3" fmla="*/ 1427684 h 6859589"/>
              <a:gd name="connsiteX4" fmla="*/ 4077869 w 7325410"/>
              <a:gd name="connsiteY4" fmla="*/ 6859587 h 6859589"/>
              <a:gd name="connsiteX5" fmla="*/ 919679 w 7325410"/>
              <a:gd name="connsiteY5" fmla="*/ 6859589 h 6859589"/>
              <a:gd name="connsiteX6" fmla="*/ 0 w 7325410"/>
              <a:gd name="connsiteY6" fmla="*/ 1587 h 6859589"/>
              <a:gd name="connsiteX0" fmla="*/ 0 w 6405731"/>
              <a:gd name="connsiteY0" fmla="*/ 6859589 h 6859589"/>
              <a:gd name="connsiteX1" fmla="*/ 0 w 6405731"/>
              <a:gd name="connsiteY1" fmla="*/ 0 h 6859589"/>
              <a:gd name="connsiteX2" fmla="*/ 3738721 w 6405731"/>
              <a:gd name="connsiteY2" fmla="*/ 1587 h 6859589"/>
              <a:gd name="connsiteX3" fmla="*/ 6405731 w 6405731"/>
              <a:gd name="connsiteY3" fmla="*/ 1427684 h 6859589"/>
              <a:gd name="connsiteX4" fmla="*/ 3158190 w 6405731"/>
              <a:gd name="connsiteY4" fmla="*/ 6859587 h 6859589"/>
              <a:gd name="connsiteX5" fmla="*/ 0 w 6405731"/>
              <a:gd name="connsiteY5" fmla="*/ 6859589 h 6859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05731" h="6859589">
                <a:moveTo>
                  <a:pt x="0" y="6859589"/>
                </a:moveTo>
                <a:lnTo>
                  <a:pt x="0" y="0"/>
                </a:lnTo>
                <a:lnTo>
                  <a:pt x="3738721" y="1587"/>
                </a:lnTo>
                <a:lnTo>
                  <a:pt x="6405731" y="1427684"/>
                </a:lnTo>
                <a:lnTo>
                  <a:pt x="3158190" y="6859587"/>
                </a:lnTo>
                <a:lnTo>
                  <a:pt x="0" y="6859589"/>
                </a:lnTo>
                <a:close/>
              </a:path>
            </a:pathLst>
          </a:custGeom>
          <a:gradFill flip="none" rotWithShape="1">
            <a:gsLst>
              <a:gs pos="60000">
                <a:srgbClr val="6A97C4"/>
              </a:gs>
              <a:gs pos="0">
                <a:schemeClr val="accent5"/>
              </a:gs>
              <a:gs pos="100000">
                <a:schemeClr val="accent3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" name="Rechteck 1"/>
          <p:cNvSpPr/>
          <p:nvPr userDrawn="1"/>
        </p:nvSpPr>
        <p:spPr>
          <a:xfrm>
            <a:off x="11391132" y="6357875"/>
            <a:ext cx="655200" cy="3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A989E3-AE74-4E67-83E2-3A01BDA6C6B0}" type="slidenum">
              <a:rPr lang="de-DE" sz="1400" kern="120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sz="1400" kern="1200" noProof="0" dirty="0">
              <a:solidFill>
                <a:schemeClr val="bg1"/>
              </a:solidFill>
              <a:latin typeface="Segoe UI Semilight" panose="020B0402040204020203" pitchFamily="34" charset="0"/>
              <a:ea typeface="+mn-ea"/>
              <a:cs typeface="+mn-cs"/>
            </a:endParaRPr>
          </a:p>
        </p:txBody>
      </p:sp>
      <p:graphicFrame>
        <p:nvGraphicFramePr>
          <p:cNvPr id="10" name="Objekt 9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573223932"/>
              </p:ext>
            </p:extLst>
          </p:nvPr>
        </p:nvGraphicFramePr>
        <p:xfrm>
          <a:off x="11284116" y="254715"/>
          <a:ext cx="758260" cy="558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8" imgW="3883164" imgH="2856728" progId="CorelDraw.Graphic.22">
                  <p:embed/>
                </p:oleObj>
              </mc:Choice>
              <mc:Fallback>
                <p:oleObj name="CorelDRAW" r:id="rId8" imgW="3883164" imgH="2856728" progId="CorelDraw.Graphic.22">
                  <p:embed/>
                  <p:pic>
                    <p:nvPicPr>
                      <p:cNvPr id="10" name="Objekt 9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284116" y="254715"/>
                        <a:ext cx="758260" cy="558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975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3" r:id="rId2"/>
    <p:sldLayoutId id="2147483700" r:id="rId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52" userDrawn="1">
          <p15:clr>
            <a:srgbClr val="F26B43"/>
          </p15:clr>
        </p15:guide>
        <p15:guide id="3" pos="2479" userDrawn="1">
          <p15:clr>
            <a:srgbClr val="F26B43"/>
          </p15:clr>
        </p15:guide>
        <p15:guide id="4" pos="145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09108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0" y="0"/>
            <a:ext cx="4855807" cy="6858000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60000">
                <a:srgbClr val="6A97C4"/>
              </a:gs>
              <a:gs pos="100000">
                <a:srgbClr val="8AB5E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Segoe UI Semilight" panose="020B0402040204020203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5" y="254644"/>
            <a:ext cx="760908" cy="5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306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5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5" userDrawn="1">
          <p15:clr>
            <a:srgbClr val="F26B43"/>
          </p15:clr>
        </p15:guide>
        <p15:guide id="3" orient="horz" pos="3997" userDrawn="1">
          <p15:clr>
            <a:srgbClr val="F26B43"/>
          </p15:clr>
        </p15:guide>
        <p15:guide id="4" orient="horz" pos="1071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0799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0" y="0"/>
            <a:ext cx="4855807" cy="6858000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60000">
                <a:srgbClr val="6A97C4"/>
              </a:gs>
              <a:gs pos="100000">
                <a:srgbClr val="8AB5E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Segoe UI Semilight" panose="020B0402040204020203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5" y="254644"/>
            <a:ext cx="760908" cy="5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103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5">
          <p15:clr>
            <a:srgbClr val="F26B43"/>
          </p15:clr>
        </p15:guide>
        <p15:guide id="3" orient="horz" pos="3997">
          <p15:clr>
            <a:srgbClr val="F26B43"/>
          </p15:clr>
        </p15:guide>
        <p15:guide id="4" orient="horz" pos="107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20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24.png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image" Target="../media/image18.png"/><Relationship Id="rId11" Type="http://schemas.openxmlformats.org/officeDocument/2006/relationships/image" Target="../media/image15.png"/><Relationship Id="rId5" Type="http://schemas.openxmlformats.org/officeDocument/2006/relationships/image" Target="../media/image29.wmf"/><Relationship Id="rId10" Type="http://schemas.openxmlformats.org/officeDocument/2006/relationships/image" Target="../media/image23.png"/><Relationship Id="rId4" Type="http://schemas.openxmlformats.org/officeDocument/2006/relationships/image" Target="../media/image1.emf"/><Relationship Id="rId9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9.jpeg"/><Relationship Id="rId4" Type="http://schemas.openxmlformats.org/officeDocument/2006/relationships/image" Target="../media/image8.jp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microsoft.com/office/2007/relationships/hdphoto" Target="../media/hdphoto2.wdp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2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4.png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18.png"/><Relationship Id="rId11" Type="http://schemas.openxmlformats.org/officeDocument/2006/relationships/image" Target="../media/image15.png"/><Relationship Id="rId5" Type="http://schemas.openxmlformats.org/officeDocument/2006/relationships/image" Target="../media/image1.emf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6.png"/><Relationship Id="rId1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6" Type="http://schemas.openxmlformats.org/officeDocument/2006/relationships/image" Target="../media/image12.jpeg"/><Relationship Id="rId5" Type="http://schemas.openxmlformats.org/officeDocument/2006/relationships/image" Target="../media/image11.jp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3893" y="5652064"/>
            <a:ext cx="1448044" cy="1199699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 dirty="0"/>
              <a:t>Andreas Weiß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1"/>
          </p:nvPr>
        </p:nvSpPr>
        <p:spPr>
          <a:xfrm>
            <a:off x="82548" y="4549384"/>
            <a:ext cx="5563339" cy="1297555"/>
          </a:xfrm>
        </p:spPr>
        <p:txBody>
          <a:bodyPr>
            <a:normAutofit/>
          </a:bodyPr>
          <a:lstStyle/>
          <a:p>
            <a:r>
              <a:rPr lang="de-DE" sz="2700" dirty="0"/>
              <a:t>Analyse methodischer Modellierungsansätze im Kontext von Verteilnetzsimulation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131" y="5970669"/>
            <a:ext cx="1715509" cy="771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6748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chbildung realer System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42285D2-B1B4-4C88-A2B5-29917B21C3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56000" y="1168328"/>
            <a:ext cx="8280000" cy="2209643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3791811E-9BA1-4EEF-B16D-67DBE61DC43D}"/>
              </a:ext>
            </a:extLst>
          </p:cNvPr>
          <p:cNvGrpSpPr/>
          <p:nvPr/>
        </p:nvGrpSpPr>
        <p:grpSpPr>
          <a:xfrm>
            <a:off x="766763" y="5070586"/>
            <a:ext cx="10447861" cy="1325563"/>
            <a:chOff x="766763" y="5070586"/>
            <a:chExt cx="10447861" cy="1325563"/>
          </a:xfrm>
        </p:grpSpPr>
        <p:sp>
          <p:nvSpPr>
            <p:cNvPr id="15" name="Textplatzhalter 6">
              <a:extLst>
                <a:ext uri="{FF2B5EF4-FFF2-40B4-BE49-F238E27FC236}">
                  <a16:creationId xmlns:a16="http://schemas.microsoft.com/office/drawing/2014/main" id="{C1A1E79C-9E21-4F5B-9EB4-E512D88DDDF1}"/>
                </a:ext>
              </a:extLst>
            </p:cNvPr>
            <p:cNvSpPr txBox="1">
              <a:spLocks/>
            </p:cNvSpPr>
            <p:nvPr/>
          </p:nvSpPr>
          <p:spPr>
            <a:xfrm>
              <a:off x="6095999" y="5070586"/>
              <a:ext cx="5118625" cy="1325563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85750" indent="-28575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Segoe UI Semilight" panose="020B0402040204020203" pitchFamily="34" charset="0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Segoe UI Semilight" panose="020B0402040204020203" pitchFamily="34" charset="0"/>
                  <a:ea typeface="+mn-ea"/>
                  <a:cs typeface="+mn-cs"/>
                </a:defRPr>
              </a:lvl2pPr>
              <a:lvl3pPr marL="12001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Segoe UI Semilight" panose="020B0402040204020203" pitchFamily="34" charset="0"/>
                  <a:ea typeface="+mn-ea"/>
                  <a:cs typeface="+mn-cs"/>
                </a:defRPr>
              </a:lvl3pPr>
              <a:lvl4pPr marL="16573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Segoe UI Semilight" panose="020B0402040204020203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b="1" dirty="0"/>
                <a:t>Nachteile:</a:t>
              </a:r>
            </a:p>
            <a:p>
              <a:r>
                <a:rPr lang="de-DE" sz="1200" dirty="0"/>
                <a:t>Hoher zeitlicher Aufwand bei Eingangsdatenaufbereitung</a:t>
              </a:r>
            </a:p>
            <a:p>
              <a:r>
                <a:rPr lang="de-DE" sz="1200" dirty="0"/>
                <a:t>Viele Simulationen für Bewertung regionaler Szenarien notwendig</a:t>
              </a:r>
            </a:p>
          </p:txBody>
        </p:sp>
        <p:sp>
          <p:nvSpPr>
            <p:cNvPr id="16" name="Textplatzhalter 6">
              <a:extLst>
                <a:ext uri="{FF2B5EF4-FFF2-40B4-BE49-F238E27FC236}">
                  <a16:creationId xmlns:a16="http://schemas.microsoft.com/office/drawing/2014/main" id="{50BEB1BA-15F8-40D8-A9C2-E0B077ADE420}"/>
                </a:ext>
              </a:extLst>
            </p:cNvPr>
            <p:cNvSpPr txBox="1">
              <a:spLocks/>
            </p:cNvSpPr>
            <p:nvPr/>
          </p:nvSpPr>
          <p:spPr>
            <a:xfrm>
              <a:off x="766763" y="5070586"/>
              <a:ext cx="5119200" cy="1325563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85750" indent="-28575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Segoe UI Semilight" panose="020B0402040204020203" pitchFamily="34" charset="0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Segoe UI Semilight" panose="020B0402040204020203" pitchFamily="34" charset="0"/>
                  <a:ea typeface="+mn-ea"/>
                  <a:cs typeface="+mn-cs"/>
                </a:defRPr>
              </a:lvl2pPr>
              <a:lvl3pPr marL="12001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Segoe UI Semilight" panose="020B0402040204020203" pitchFamily="34" charset="0"/>
                  <a:ea typeface="+mn-ea"/>
                  <a:cs typeface="+mn-cs"/>
                </a:defRPr>
              </a:lvl3pPr>
              <a:lvl4pPr marL="16573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Segoe UI Semilight" panose="020B0402040204020203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b="1" dirty="0"/>
                <a:t>Vorteile:</a:t>
              </a:r>
            </a:p>
            <a:p>
              <a:r>
                <a:rPr lang="de-DE" sz="1200" dirty="0"/>
                <a:t>Ergebnisse bilden Realität (Status Quo) detailgetreu ab</a:t>
              </a:r>
            </a:p>
            <a:p>
              <a:r>
                <a:rPr lang="de-DE" sz="1200" dirty="0"/>
                <a:t>Entwicklungen und Auswirkungen in realen Systemen können abgeleitet werden</a:t>
              </a:r>
            </a:p>
            <a:p>
              <a:r>
                <a:rPr lang="de-DE" sz="1200" dirty="0"/>
                <a:t>Regionale Tendenzen können durch statistische Auswertung der individuellen Auswertungen ermittelt werde</a:t>
              </a:r>
            </a:p>
          </p:txBody>
        </p:sp>
      </p:grpSp>
      <p:pic>
        <p:nvPicPr>
          <p:cNvPr id="18" name="Grafik 17">
            <a:extLst>
              <a:ext uri="{FF2B5EF4-FFF2-40B4-BE49-F238E27FC236}">
                <a16:creationId xmlns:a16="http://schemas.microsoft.com/office/drawing/2014/main" id="{1714E2F8-BEF2-4A42-8E19-59875373519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2965"/>
          <a:stretch/>
        </p:blipFill>
        <p:spPr>
          <a:xfrm>
            <a:off x="1956000" y="3429000"/>
            <a:ext cx="8280000" cy="1480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905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nerische Modellierung von Netz und Belastu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FB10096-F0E1-4136-8CA3-1C1F87598357}"/>
              </a:ext>
            </a:extLst>
          </p:cNvPr>
          <p:cNvSpPr txBox="1">
            <a:spLocks/>
          </p:cNvSpPr>
          <p:nvPr/>
        </p:nvSpPr>
        <p:spPr>
          <a:xfrm>
            <a:off x="766763" y="5070588"/>
            <a:ext cx="5119200" cy="13255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+mn-cs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b="1" dirty="0"/>
              <a:t>Vorteile:</a:t>
            </a:r>
          </a:p>
          <a:p>
            <a:r>
              <a:rPr lang="de-DE" sz="1200" dirty="0"/>
              <a:t>Einfache Bewertung regionaler Szenarien und deren Auswirkungen auf mittlere Netzbelastung</a:t>
            </a:r>
          </a:p>
          <a:p>
            <a:r>
              <a:rPr lang="de-DE" sz="1200" dirty="0"/>
              <a:t>Einfache Bewertung der Auswirkungen verschiedener Regelungen (z. B. Ladesteuerungen von Elektrofahrzeugen)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7967F7A1-4E2C-4B74-AE22-A056555E8AD8}"/>
              </a:ext>
            </a:extLst>
          </p:cNvPr>
          <p:cNvSpPr txBox="1">
            <a:spLocks/>
          </p:cNvSpPr>
          <p:nvPr/>
        </p:nvSpPr>
        <p:spPr>
          <a:xfrm>
            <a:off x="6095999" y="5070587"/>
            <a:ext cx="5118625" cy="13255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+mn-cs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b="1" dirty="0"/>
              <a:t>Nachteile:</a:t>
            </a:r>
          </a:p>
          <a:p>
            <a:r>
              <a:rPr lang="de-DE" sz="1200" dirty="0"/>
              <a:t>Rückschlüsse auf Rückwirkung im individuellen Verteilnetz nur bedingt möglich</a:t>
            </a:r>
          </a:p>
          <a:p>
            <a:r>
              <a:rPr lang="de-DE" sz="1200" dirty="0"/>
              <a:t>Hohe Abhängigkeit </a:t>
            </a:r>
            <a:r>
              <a:rPr lang="de-DE" sz="1200"/>
              <a:t>von Zufallsverteilungen</a:t>
            </a:r>
            <a:endParaRPr lang="de-DE" sz="1200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F70587F-4E25-4D3C-9AAC-A3E62D9CE7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56000" y="1170430"/>
            <a:ext cx="8280000" cy="221877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7D283AFA-6E56-45BA-AA50-A6745BEC170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2965"/>
          <a:stretch/>
        </p:blipFill>
        <p:spPr>
          <a:xfrm>
            <a:off x="1956000" y="3429000"/>
            <a:ext cx="8280000" cy="148063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67967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pSp>
        <p:nvGrpSpPr>
          <p:cNvPr id="9" name="Gruppieren 8"/>
          <p:cNvGrpSpPr/>
          <p:nvPr/>
        </p:nvGrpSpPr>
        <p:grpSpPr>
          <a:xfrm>
            <a:off x="861557" y="1828236"/>
            <a:ext cx="10349347" cy="653107"/>
            <a:chOff x="378148" y="1620391"/>
            <a:chExt cx="12102986" cy="720081"/>
          </a:xfrm>
        </p:grpSpPr>
        <p:sp>
          <p:nvSpPr>
            <p:cNvPr id="20" name="Rechteck 19"/>
            <p:cNvSpPr/>
            <p:nvPr/>
          </p:nvSpPr>
          <p:spPr>
            <a:xfrm>
              <a:off x="580612" y="1836415"/>
              <a:ext cx="11900522" cy="50405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dirty="0">
                  <a:solidFill>
                    <a:schemeClr val="tx1"/>
                  </a:solidFill>
                </a:rPr>
                <a:t>Ausgangslage und Simulationsmodell</a:t>
              </a:r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378148" y="1620391"/>
              <a:ext cx="468000" cy="440578"/>
              <a:chOff x="1386260" y="1728403"/>
              <a:chExt cx="468000" cy="440578"/>
            </a:xfrm>
          </p:grpSpPr>
          <p:sp>
            <p:nvSpPr>
              <p:cNvPr id="22" name="Rechteck 21"/>
              <p:cNvSpPr/>
              <p:nvPr/>
            </p:nvSpPr>
            <p:spPr>
              <a:xfrm>
                <a:off x="1386260" y="1728403"/>
                <a:ext cx="468000" cy="440578"/>
              </a:xfrm>
              <a:prstGeom prst="rect">
                <a:avLst/>
              </a:prstGeom>
              <a:solidFill>
                <a:srgbClr val="1F4E79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Textfeld 11"/>
              <p:cNvSpPr txBox="1"/>
              <p:nvPr/>
            </p:nvSpPr>
            <p:spPr>
              <a:xfrm>
                <a:off x="1476244" y="1777763"/>
                <a:ext cx="288032" cy="373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sz="1600" b="1" dirty="0">
                    <a:solidFill>
                      <a:prstClr val="white"/>
                    </a:solidFill>
                  </a:rPr>
                  <a:t>1</a:t>
                </a:r>
              </a:p>
            </p:txBody>
          </p:sp>
        </p:grpSp>
      </p:grpSp>
      <p:grpSp>
        <p:nvGrpSpPr>
          <p:cNvPr id="10" name="Gruppieren 9"/>
          <p:cNvGrpSpPr/>
          <p:nvPr/>
        </p:nvGrpSpPr>
        <p:grpSpPr>
          <a:xfrm>
            <a:off x="861557" y="3329244"/>
            <a:ext cx="10349347" cy="653107"/>
            <a:chOff x="378148" y="1620391"/>
            <a:chExt cx="12102986" cy="720081"/>
          </a:xfrm>
        </p:grpSpPr>
        <p:sp>
          <p:nvSpPr>
            <p:cNvPr id="16" name="Rechteck 15"/>
            <p:cNvSpPr/>
            <p:nvPr/>
          </p:nvSpPr>
          <p:spPr>
            <a:xfrm>
              <a:off x="580612" y="1836415"/>
              <a:ext cx="11900522" cy="50405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dirty="0">
                  <a:solidFill>
                    <a:srgbClr val="003840"/>
                  </a:solidFill>
                </a:rPr>
                <a:t>Vergleich verschiedener Modellierungsansätze im Verteilnetz</a:t>
              </a:r>
              <a:endParaRPr lang="de-DE" sz="2000" dirty="0">
                <a:solidFill>
                  <a:srgbClr val="003840"/>
                </a:solidFill>
              </a:endParaRPr>
            </a:p>
          </p:txBody>
        </p:sp>
        <p:grpSp>
          <p:nvGrpSpPr>
            <p:cNvPr id="17" name="Gruppieren 16"/>
            <p:cNvGrpSpPr/>
            <p:nvPr/>
          </p:nvGrpSpPr>
          <p:grpSpPr>
            <a:xfrm>
              <a:off x="378148" y="1620391"/>
              <a:ext cx="468000" cy="440578"/>
              <a:chOff x="1386260" y="1728403"/>
              <a:chExt cx="468000" cy="440578"/>
            </a:xfrm>
          </p:grpSpPr>
          <p:sp>
            <p:nvSpPr>
              <p:cNvPr id="18" name="Rechteck 17"/>
              <p:cNvSpPr/>
              <p:nvPr/>
            </p:nvSpPr>
            <p:spPr>
              <a:xfrm>
                <a:off x="1386260" y="1728403"/>
                <a:ext cx="468000" cy="440578"/>
              </a:xfrm>
              <a:prstGeom prst="rect">
                <a:avLst/>
              </a:prstGeom>
              <a:solidFill>
                <a:srgbClr val="1F4E79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Textfeld 31"/>
              <p:cNvSpPr txBox="1"/>
              <p:nvPr/>
            </p:nvSpPr>
            <p:spPr>
              <a:xfrm>
                <a:off x="1476244" y="1777763"/>
                <a:ext cx="288032" cy="373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sz="1600" b="1" dirty="0">
                    <a:solidFill>
                      <a:prstClr val="white"/>
                    </a:solidFill>
                  </a:rPr>
                  <a:t>2</a:t>
                </a:r>
              </a:p>
            </p:txBody>
          </p:sp>
        </p:grpSp>
      </p:grpSp>
      <p:grpSp>
        <p:nvGrpSpPr>
          <p:cNvPr id="11" name="Gruppieren 10"/>
          <p:cNvGrpSpPr/>
          <p:nvPr/>
        </p:nvGrpSpPr>
        <p:grpSpPr>
          <a:xfrm>
            <a:off x="859991" y="4830252"/>
            <a:ext cx="10349347" cy="653108"/>
            <a:chOff x="378148" y="1620390"/>
            <a:chExt cx="12102986" cy="720082"/>
          </a:xfrm>
        </p:grpSpPr>
        <p:sp>
          <p:nvSpPr>
            <p:cNvPr id="12" name="Rechteck 11"/>
            <p:cNvSpPr/>
            <p:nvPr/>
          </p:nvSpPr>
          <p:spPr>
            <a:xfrm>
              <a:off x="580612" y="1836415"/>
              <a:ext cx="11900522" cy="50405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dirty="0">
                  <a:solidFill>
                    <a:srgbClr val="003840"/>
                  </a:solidFill>
                </a:rPr>
                <a:t>Quantifizierung notwendiger Zufallsverteilungen</a:t>
              </a:r>
              <a:endParaRPr lang="de-DE" sz="2000" dirty="0">
                <a:solidFill>
                  <a:srgbClr val="003840"/>
                </a:solidFill>
              </a:endParaRPr>
            </a:p>
          </p:txBody>
        </p:sp>
        <p:grpSp>
          <p:nvGrpSpPr>
            <p:cNvPr id="13" name="Gruppieren 12"/>
            <p:cNvGrpSpPr/>
            <p:nvPr/>
          </p:nvGrpSpPr>
          <p:grpSpPr>
            <a:xfrm>
              <a:off x="378148" y="1620390"/>
              <a:ext cx="468000" cy="440577"/>
              <a:chOff x="1386260" y="1728402"/>
              <a:chExt cx="468000" cy="440577"/>
            </a:xfrm>
          </p:grpSpPr>
          <p:sp>
            <p:nvSpPr>
              <p:cNvPr id="14" name="Rechteck 13"/>
              <p:cNvSpPr/>
              <p:nvPr/>
            </p:nvSpPr>
            <p:spPr>
              <a:xfrm>
                <a:off x="1386260" y="1728402"/>
                <a:ext cx="468000" cy="440577"/>
              </a:xfrm>
              <a:prstGeom prst="rect">
                <a:avLst/>
              </a:prstGeom>
              <a:solidFill>
                <a:srgbClr val="1F4E79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Textfeld 36"/>
              <p:cNvSpPr txBox="1"/>
              <p:nvPr/>
            </p:nvSpPr>
            <p:spPr>
              <a:xfrm>
                <a:off x="1476244" y="1777763"/>
                <a:ext cx="288032" cy="373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sz="1600" b="1" dirty="0">
                    <a:solidFill>
                      <a:prstClr val="white"/>
                    </a:solidFill>
                  </a:rPr>
                  <a:t>3</a:t>
                </a:r>
              </a:p>
            </p:txBody>
          </p:sp>
        </p:grpSp>
      </p:grpSp>
      <p:sp>
        <p:nvSpPr>
          <p:cNvPr id="24" name="Rechteck 23">
            <a:extLst>
              <a:ext uri="{FF2B5EF4-FFF2-40B4-BE49-F238E27FC236}">
                <a16:creationId xmlns:a16="http://schemas.microsoft.com/office/drawing/2014/main" id="{B09141DA-7A7F-4C64-A044-1EDD4F001476}"/>
              </a:ext>
            </a:extLst>
          </p:cNvPr>
          <p:cNvSpPr/>
          <p:nvPr/>
        </p:nvSpPr>
        <p:spPr>
          <a:xfrm>
            <a:off x="719697" y="1601315"/>
            <a:ext cx="10752603" cy="1250781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2AAC902-5E96-43CA-A1C1-4F5EA30CD875}"/>
              </a:ext>
            </a:extLst>
          </p:cNvPr>
          <p:cNvSpPr/>
          <p:nvPr/>
        </p:nvSpPr>
        <p:spPr>
          <a:xfrm>
            <a:off x="719696" y="3128372"/>
            <a:ext cx="10752603" cy="1250781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70505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66763" y="1844675"/>
            <a:ext cx="10447861" cy="1194375"/>
          </a:xfrm>
        </p:spPr>
        <p:txBody>
          <a:bodyPr/>
          <a:lstStyle/>
          <a:p>
            <a:r>
              <a:rPr lang="de-DE" sz="1400" dirty="0"/>
              <a:t>Simulation von jeweils 200 Varianten der zufallsbedingten Verteilung von Komponenten und Attributen</a:t>
            </a:r>
          </a:p>
          <a:p>
            <a:r>
              <a:rPr lang="de-DE" sz="1400" dirty="0"/>
              <a:t>Auswertung von Netzkenngrößen:</a:t>
            </a:r>
          </a:p>
          <a:p>
            <a:pPr lvl="1"/>
            <a:r>
              <a:rPr lang="de-DE" sz="1400" dirty="0"/>
              <a:t>Maximale Auslastung des Transformators</a:t>
            </a:r>
          </a:p>
          <a:p>
            <a:pPr lvl="1"/>
            <a:r>
              <a:rPr lang="de-DE" sz="1400" dirty="0"/>
              <a:t>Minimale Spannung aller Hausanschlüss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bau des Zufallsexperiment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F4850EC-A418-4751-9C30-D68575415A4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9973" y="3187700"/>
            <a:ext cx="2369209" cy="3219678"/>
          </a:xfrm>
          <a:prstGeom prst="rect">
            <a:avLst/>
          </a:prstGeom>
        </p:spPr>
      </p:pic>
      <p:grpSp>
        <p:nvGrpSpPr>
          <p:cNvPr id="149" name="Gruppieren 148">
            <a:extLst>
              <a:ext uri="{FF2B5EF4-FFF2-40B4-BE49-F238E27FC236}">
                <a16:creationId xmlns:a16="http://schemas.microsoft.com/office/drawing/2014/main" id="{3237D684-B336-4068-925D-5B8FDA86DCC1}"/>
              </a:ext>
            </a:extLst>
          </p:cNvPr>
          <p:cNvGrpSpPr/>
          <p:nvPr/>
        </p:nvGrpSpPr>
        <p:grpSpPr>
          <a:xfrm>
            <a:off x="5487656" y="3556139"/>
            <a:ext cx="5123808" cy="2482800"/>
            <a:chOff x="5487656" y="3530951"/>
            <a:chExt cx="5123808" cy="24828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4A265CF-431E-42E8-A2B7-D006043C29F4}"/>
                </a:ext>
              </a:extLst>
            </p:cNvPr>
            <p:cNvSpPr/>
            <p:nvPr/>
          </p:nvSpPr>
          <p:spPr>
            <a:xfrm>
              <a:off x="5487656" y="3852553"/>
              <a:ext cx="720000" cy="702000"/>
            </a:xfrm>
            <a:prstGeom prst="rect">
              <a:avLst/>
            </a:prstGeom>
            <a:solidFill>
              <a:srgbClr val="51515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de-DE" sz="12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Fall 1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66ECA6E9-A9E8-4FF0-8B59-2C1A5DD33D3D}"/>
                </a:ext>
              </a:extLst>
            </p:cNvPr>
            <p:cNvSpPr/>
            <p:nvPr/>
          </p:nvSpPr>
          <p:spPr>
            <a:xfrm>
              <a:off x="5487656" y="4581553"/>
              <a:ext cx="720000" cy="702000"/>
            </a:xfrm>
            <a:prstGeom prst="rect">
              <a:avLst/>
            </a:prstGeom>
            <a:solidFill>
              <a:srgbClr val="51515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de-DE" sz="12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Fall 2</a:t>
              </a: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E774D688-A0F4-414B-9832-E6346F854207}"/>
                </a:ext>
              </a:extLst>
            </p:cNvPr>
            <p:cNvSpPr/>
            <p:nvPr/>
          </p:nvSpPr>
          <p:spPr>
            <a:xfrm>
              <a:off x="5487656" y="5311751"/>
              <a:ext cx="720000" cy="702000"/>
            </a:xfrm>
            <a:prstGeom prst="rect">
              <a:avLst/>
            </a:prstGeom>
            <a:solidFill>
              <a:srgbClr val="51515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de-DE" sz="12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Fall 3</a:t>
              </a: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06104B4C-D3C5-4D74-8592-8CB70DC52479}"/>
                </a:ext>
              </a:extLst>
            </p:cNvPr>
            <p:cNvSpPr/>
            <p:nvPr/>
          </p:nvSpPr>
          <p:spPr>
            <a:xfrm>
              <a:off x="6255947" y="3530951"/>
              <a:ext cx="2160000" cy="288000"/>
            </a:xfrm>
            <a:prstGeom prst="rect">
              <a:avLst/>
            </a:prstGeom>
            <a:solidFill>
              <a:srgbClr val="AB262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Fixierte Verteilung</a:t>
              </a: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B68894CC-3101-459E-91C5-EF7298A5D344}"/>
                </a:ext>
              </a:extLst>
            </p:cNvPr>
            <p:cNvSpPr/>
            <p:nvPr/>
          </p:nvSpPr>
          <p:spPr>
            <a:xfrm>
              <a:off x="8451464" y="3533166"/>
              <a:ext cx="2160000" cy="288000"/>
            </a:xfrm>
            <a:prstGeom prst="rect">
              <a:avLst/>
            </a:prstGeom>
            <a:solidFill>
              <a:srgbClr val="356CA5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latin typeface="+mj-lt"/>
                  <a:cs typeface="Arial" panose="020B0604020202020204" pitchFamily="34" charset="0"/>
                </a:rPr>
                <a:t>Zufallsverteilt</a:t>
              </a:r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5D44B2FD-7576-412D-BBE0-590832C4F3C7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10146500" y="3574668"/>
              <a:ext cx="324000" cy="204996"/>
              <a:chOff x="1155203" y="1017198"/>
              <a:chExt cx="637963" cy="403638"/>
            </a:xfrm>
          </p:grpSpPr>
          <p:sp>
            <p:nvSpPr>
              <p:cNvPr id="18" name="Flussdiagramm: Alternativer Prozess 17">
                <a:extLst>
                  <a:ext uri="{FF2B5EF4-FFF2-40B4-BE49-F238E27FC236}">
                    <a16:creationId xmlns:a16="http://schemas.microsoft.com/office/drawing/2014/main" id="{FA3CFF45-CB0D-4B70-A2AF-59ED64DA2F43}"/>
                  </a:ext>
                </a:extLst>
              </p:cNvPr>
              <p:cNvSpPr/>
              <p:nvPr/>
            </p:nvSpPr>
            <p:spPr>
              <a:xfrm rot="840000">
                <a:off x="1155203" y="1060837"/>
                <a:ext cx="360000" cy="359999"/>
              </a:xfrm>
              <a:prstGeom prst="flowChartAlternateProcess">
                <a:avLst/>
              </a:prstGeom>
              <a:solidFill>
                <a:schemeClr val="tx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9" name="Ellipse 18">
                <a:extLst>
                  <a:ext uri="{FF2B5EF4-FFF2-40B4-BE49-F238E27FC236}">
                    <a16:creationId xmlns:a16="http://schemas.microsoft.com/office/drawing/2014/main" id="{DC920A8C-2F45-4563-90A7-DB468CF1108B}"/>
                  </a:ext>
                </a:extLst>
              </p:cNvPr>
              <p:cNvSpPr/>
              <p:nvPr/>
            </p:nvSpPr>
            <p:spPr>
              <a:xfrm rot="840000">
                <a:off x="1299203" y="1204838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" name="Flussdiagramm: Alternativer Prozess 19">
                <a:extLst>
                  <a:ext uri="{FF2B5EF4-FFF2-40B4-BE49-F238E27FC236}">
                    <a16:creationId xmlns:a16="http://schemas.microsoft.com/office/drawing/2014/main" id="{73BCDBE8-5631-4E71-AC7E-D9DF77F25716}"/>
                  </a:ext>
                </a:extLst>
              </p:cNvPr>
              <p:cNvSpPr/>
              <p:nvPr/>
            </p:nvSpPr>
            <p:spPr>
              <a:xfrm rot="20280000">
                <a:off x="1433166" y="1017198"/>
                <a:ext cx="360000" cy="360001"/>
              </a:xfrm>
              <a:prstGeom prst="flowChartAlternateProcess">
                <a:avLst/>
              </a:prstGeom>
              <a:solidFill>
                <a:schemeClr val="tx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" name="Ellipse 20">
                <a:extLst>
                  <a:ext uri="{FF2B5EF4-FFF2-40B4-BE49-F238E27FC236}">
                    <a16:creationId xmlns:a16="http://schemas.microsoft.com/office/drawing/2014/main" id="{1C824910-A28D-412E-B6EA-25FCD1BB34FD}"/>
                  </a:ext>
                </a:extLst>
              </p:cNvPr>
              <p:cNvSpPr/>
              <p:nvPr/>
            </p:nvSpPr>
            <p:spPr>
              <a:xfrm rot="20280000">
                <a:off x="1470230" y="1099936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2" name="Ellipse 21">
                <a:extLst>
                  <a:ext uri="{FF2B5EF4-FFF2-40B4-BE49-F238E27FC236}">
                    <a16:creationId xmlns:a16="http://schemas.microsoft.com/office/drawing/2014/main" id="{407368FB-E83A-4A3A-AB11-8D61F86B137F}"/>
                  </a:ext>
                </a:extLst>
              </p:cNvPr>
              <p:cNvSpPr/>
              <p:nvPr/>
            </p:nvSpPr>
            <p:spPr>
              <a:xfrm rot="20280000">
                <a:off x="1542799" y="1279550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3" name="Ellipse 22">
                <a:extLst>
                  <a:ext uri="{FF2B5EF4-FFF2-40B4-BE49-F238E27FC236}">
                    <a16:creationId xmlns:a16="http://schemas.microsoft.com/office/drawing/2014/main" id="{8093FF8D-3FA1-45F0-BDE5-857FB9A4425A}"/>
                  </a:ext>
                </a:extLst>
              </p:cNvPr>
              <p:cNvSpPr/>
              <p:nvPr/>
            </p:nvSpPr>
            <p:spPr>
              <a:xfrm rot="20280000">
                <a:off x="1688518" y="1220676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5397D29C-34D9-45E9-A71A-F27321126207}"/>
                  </a:ext>
                </a:extLst>
              </p:cNvPr>
              <p:cNvSpPr/>
              <p:nvPr/>
            </p:nvSpPr>
            <p:spPr>
              <a:xfrm rot="20280000">
                <a:off x="1615949" y="1041062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5" name="Ellipse 24">
                <a:extLst>
                  <a:ext uri="{FF2B5EF4-FFF2-40B4-BE49-F238E27FC236}">
                    <a16:creationId xmlns:a16="http://schemas.microsoft.com/office/drawing/2014/main" id="{2670CF7E-CF9F-481B-AF92-402205E75CED}"/>
                  </a:ext>
                </a:extLst>
              </p:cNvPr>
              <p:cNvSpPr/>
              <p:nvPr/>
            </p:nvSpPr>
            <p:spPr>
              <a:xfrm rot="20280000">
                <a:off x="1577166" y="1161198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1F2CE085-701E-451A-8E6F-CDDE92B2F77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94285" y="3563149"/>
              <a:ext cx="144000" cy="200633"/>
              <a:chOff x="2818875" y="4262825"/>
              <a:chExt cx="108000" cy="150475"/>
            </a:xfrm>
          </p:grpSpPr>
          <p:sp>
            <p:nvSpPr>
              <p:cNvPr id="27" name="Flussdiagramm: Alternativer Prozess 26">
                <a:extLst>
                  <a:ext uri="{FF2B5EF4-FFF2-40B4-BE49-F238E27FC236}">
                    <a16:creationId xmlns:a16="http://schemas.microsoft.com/office/drawing/2014/main" id="{9CA24D9F-3804-4771-B814-B37C57771E9B}"/>
                  </a:ext>
                </a:extLst>
              </p:cNvPr>
              <p:cNvSpPr/>
              <p:nvPr/>
            </p:nvSpPr>
            <p:spPr>
              <a:xfrm>
                <a:off x="2818875" y="4305300"/>
                <a:ext cx="108000" cy="108000"/>
              </a:xfrm>
              <a:prstGeom prst="flowChartAlternateProcess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+mj-lt"/>
                </a:endParaRPr>
              </a:p>
            </p:txBody>
          </p:sp>
          <p:sp>
            <p:nvSpPr>
              <p:cNvPr id="28" name="Halbbogen 27">
                <a:extLst>
                  <a:ext uri="{FF2B5EF4-FFF2-40B4-BE49-F238E27FC236}">
                    <a16:creationId xmlns:a16="http://schemas.microsoft.com/office/drawing/2014/main" id="{1ED00D2A-DA2A-492E-9730-765A1C4395D3}"/>
                  </a:ext>
                </a:extLst>
              </p:cNvPr>
              <p:cNvSpPr/>
              <p:nvPr/>
            </p:nvSpPr>
            <p:spPr>
              <a:xfrm>
                <a:off x="2836875" y="4262825"/>
                <a:ext cx="72000" cy="95632"/>
              </a:xfrm>
              <a:prstGeom prst="blockArc">
                <a:avLst/>
              </a:prstGeom>
              <a:solidFill>
                <a:schemeClr val="tx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FB3E3EB1-8AFB-4776-B2B2-FDD282B44D21}"/>
                  </a:ext>
                </a:extLst>
              </p:cNvPr>
              <p:cNvSpPr/>
              <p:nvPr/>
            </p:nvSpPr>
            <p:spPr>
              <a:xfrm>
                <a:off x="2854875" y="4323300"/>
                <a:ext cx="36000" cy="36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latin typeface="+mj-lt"/>
                </a:endParaRPr>
              </a:p>
            </p:txBody>
          </p:sp>
          <p:sp>
            <p:nvSpPr>
              <p:cNvPr id="30" name="Gleichschenkliges Dreieck 29">
                <a:extLst>
                  <a:ext uri="{FF2B5EF4-FFF2-40B4-BE49-F238E27FC236}">
                    <a16:creationId xmlns:a16="http://schemas.microsoft.com/office/drawing/2014/main" id="{DDE5FDD4-BEE1-4121-B890-8C8678187BAA}"/>
                  </a:ext>
                </a:extLst>
              </p:cNvPr>
              <p:cNvSpPr/>
              <p:nvPr/>
            </p:nvSpPr>
            <p:spPr>
              <a:xfrm>
                <a:off x="2854875" y="4348163"/>
                <a:ext cx="36000" cy="3600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latin typeface="+mj-lt"/>
                </a:endParaRPr>
              </a:p>
            </p:txBody>
          </p:sp>
        </p:grp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85402C55-EC91-45BC-8BB4-8CFFDF37B506}"/>
                </a:ext>
              </a:extLst>
            </p:cNvPr>
            <p:cNvSpPr/>
            <p:nvPr/>
          </p:nvSpPr>
          <p:spPr>
            <a:xfrm>
              <a:off x="6255947" y="3852553"/>
              <a:ext cx="2160000" cy="702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endParaRPr lang="de-D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70153F73-6EE9-44FF-ABCB-05A6A92F17FD}"/>
                </a:ext>
              </a:extLst>
            </p:cNvPr>
            <p:cNvSpPr/>
            <p:nvPr/>
          </p:nvSpPr>
          <p:spPr>
            <a:xfrm>
              <a:off x="6255947" y="4581553"/>
              <a:ext cx="2160000" cy="702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endParaRPr lang="de-D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408B7717-9EA3-46CD-B6B3-F77DE534A61C}"/>
                </a:ext>
              </a:extLst>
            </p:cNvPr>
            <p:cNvSpPr/>
            <p:nvPr/>
          </p:nvSpPr>
          <p:spPr>
            <a:xfrm>
              <a:off x="6255947" y="5311751"/>
              <a:ext cx="2160000" cy="702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endParaRPr lang="de-D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66F1E73D-4CB3-4E13-838F-E8EA4DFE61BE}"/>
                </a:ext>
              </a:extLst>
            </p:cNvPr>
            <p:cNvSpPr/>
            <p:nvPr/>
          </p:nvSpPr>
          <p:spPr>
            <a:xfrm>
              <a:off x="8451464" y="3852553"/>
              <a:ext cx="2160000" cy="702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endParaRPr lang="de-D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27A3AE03-50F3-46E1-BDE7-3405E0101394}"/>
                </a:ext>
              </a:extLst>
            </p:cNvPr>
            <p:cNvSpPr/>
            <p:nvPr/>
          </p:nvSpPr>
          <p:spPr>
            <a:xfrm>
              <a:off x="8451464" y="4581553"/>
              <a:ext cx="2160000" cy="702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endParaRPr lang="de-D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9DBFF009-6E16-42BD-B051-9492A2893FAB}"/>
                </a:ext>
              </a:extLst>
            </p:cNvPr>
            <p:cNvSpPr/>
            <p:nvPr/>
          </p:nvSpPr>
          <p:spPr>
            <a:xfrm>
              <a:off x="8451464" y="5311751"/>
              <a:ext cx="2160000" cy="702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endParaRPr lang="de-D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65D3FE9B-88C8-49BC-BEE2-4A39EDEFF65F}"/>
                </a:ext>
              </a:extLst>
            </p:cNvPr>
            <p:cNvGrpSpPr/>
            <p:nvPr/>
          </p:nvGrpSpPr>
          <p:grpSpPr>
            <a:xfrm>
              <a:off x="6569362" y="4781082"/>
              <a:ext cx="1524923" cy="302941"/>
              <a:chOff x="3813499" y="5086887"/>
              <a:chExt cx="793446" cy="147193"/>
            </a:xfrm>
          </p:grpSpPr>
          <p:sp>
            <p:nvSpPr>
              <p:cNvPr id="38" name="Ellipse 37">
                <a:extLst>
                  <a:ext uri="{FF2B5EF4-FFF2-40B4-BE49-F238E27FC236}">
                    <a16:creationId xmlns:a16="http://schemas.microsoft.com/office/drawing/2014/main" id="{F5BD41A7-7DFE-4602-9D47-84512BD65D53}"/>
                  </a:ext>
                </a:extLst>
              </p:cNvPr>
              <p:cNvSpPr/>
              <p:nvPr/>
            </p:nvSpPr>
            <p:spPr>
              <a:xfrm rot="16200000">
                <a:off x="3813781" y="5086605"/>
                <a:ext cx="147193" cy="147758"/>
              </a:xfrm>
              <a:prstGeom prst="ellipse">
                <a:avLst/>
              </a:prstGeom>
              <a:noFill/>
              <a:ln w="15875">
                <a:solidFill>
                  <a:srgbClr val="777777"/>
                </a:solidFill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defTabSz="891917"/>
                <a:endParaRPr lang="de-DE" sz="1112" dirty="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39" name="Ellipse 38">
                <a:extLst>
                  <a:ext uri="{FF2B5EF4-FFF2-40B4-BE49-F238E27FC236}">
                    <a16:creationId xmlns:a16="http://schemas.microsoft.com/office/drawing/2014/main" id="{45A91EA3-BF26-4CC6-8F40-BDA49B30E040}"/>
                  </a:ext>
                </a:extLst>
              </p:cNvPr>
              <p:cNvSpPr/>
              <p:nvPr/>
            </p:nvSpPr>
            <p:spPr>
              <a:xfrm rot="16200000">
                <a:off x="3905826" y="5086819"/>
                <a:ext cx="147193" cy="147329"/>
              </a:xfrm>
              <a:prstGeom prst="ellipse">
                <a:avLst/>
              </a:prstGeom>
              <a:noFill/>
              <a:ln w="15875">
                <a:solidFill>
                  <a:srgbClr val="777777"/>
                </a:solidFill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defTabSz="891917"/>
                <a:endParaRPr lang="de-DE" sz="1112" dirty="0">
                  <a:solidFill>
                    <a:prstClr val="black"/>
                  </a:solidFill>
                  <a:latin typeface="+mj-lt"/>
                </a:endParaRPr>
              </a:p>
            </p:txBody>
          </p:sp>
          <p:cxnSp>
            <p:nvCxnSpPr>
              <p:cNvPr id="40" name="Gerade Verbindung 161">
                <a:extLst>
                  <a:ext uri="{FF2B5EF4-FFF2-40B4-BE49-F238E27FC236}">
                    <a16:creationId xmlns:a16="http://schemas.microsoft.com/office/drawing/2014/main" id="{FAB1665C-4682-4CF6-B1D1-F5F77A5BBF0E}"/>
                  </a:ext>
                </a:extLst>
              </p:cNvPr>
              <p:cNvCxnSpPr>
                <a:cxnSpLocks/>
                <a:stCxn id="39" idx="4"/>
              </p:cNvCxnSpPr>
              <p:nvPr/>
            </p:nvCxnSpPr>
            <p:spPr>
              <a:xfrm>
                <a:off x="4053087" y="5160483"/>
                <a:ext cx="553858" cy="0"/>
              </a:xfrm>
              <a:prstGeom prst="line">
                <a:avLst/>
              </a:prstGeom>
              <a:ln w="19050">
                <a:solidFill>
                  <a:srgbClr val="7777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161">
                <a:extLst>
                  <a:ext uri="{FF2B5EF4-FFF2-40B4-BE49-F238E27FC236}">
                    <a16:creationId xmlns:a16="http://schemas.microsoft.com/office/drawing/2014/main" id="{19A772C3-93AB-4FF3-A912-0145CADF93A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4174902" y="5138353"/>
                <a:ext cx="36000" cy="0"/>
              </a:xfrm>
              <a:prstGeom prst="line">
                <a:avLst/>
              </a:prstGeom>
              <a:ln w="19050">
                <a:solidFill>
                  <a:srgbClr val="7777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161">
                <a:extLst>
                  <a:ext uri="{FF2B5EF4-FFF2-40B4-BE49-F238E27FC236}">
                    <a16:creationId xmlns:a16="http://schemas.microsoft.com/office/drawing/2014/main" id="{EF878731-756C-4BFD-B492-D00A05E1F59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4234282" y="5182612"/>
                <a:ext cx="36000" cy="0"/>
              </a:xfrm>
              <a:prstGeom prst="line">
                <a:avLst/>
              </a:prstGeom>
              <a:ln w="19050">
                <a:solidFill>
                  <a:srgbClr val="7777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161">
                <a:extLst>
                  <a:ext uri="{FF2B5EF4-FFF2-40B4-BE49-F238E27FC236}">
                    <a16:creationId xmlns:a16="http://schemas.microsoft.com/office/drawing/2014/main" id="{D3382102-1810-499E-8B67-18BD5A92168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4396415" y="5141489"/>
                <a:ext cx="36000" cy="0"/>
              </a:xfrm>
              <a:prstGeom prst="line">
                <a:avLst/>
              </a:prstGeom>
              <a:ln w="19050">
                <a:solidFill>
                  <a:srgbClr val="7777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161">
                <a:extLst>
                  <a:ext uri="{FF2B5EF4-FFF2-40B4-BE49-F238E27FC236}">
                    <a16:creationId xmlns:a16="http://schemas.microsoft.com/office/drawing/2014/main" id="{D74503B4-369E-4033-A14B-04F20A96AEE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4455795" y="5182662"/>
                <a:ext cx="36000" cy="0"/>
              </a:xfrm>
              <a:prstGeom prst="line">
                <a:avLst/>
              </a:prstGeom>
              <a:ln w="19050">
                <a:solidFill>
                  <a:srgbClr val="7777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A659CAEC-5307-4FD1-9905-C682932C479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07140" y="4669377"/>
              <a:ext cx="179259" cy="187439"/>
            </a:xfrm>
            <a:prstGeom prst="rect">
              <a:avLst/>
            </a:prstGeom>
          </p:spPr>
        </p:pic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F2D42110-1F29-4CC7-BEC7-930502B811C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08906" y="5392506"/>
              <a:ext cx="179259" cy="187439"/>
            </a:xfrm>
            <a:prstGeom prst="rect">
              <a:avLst/>
            </a:prstGeom>
          </p:spPr>
        </p:pic>
        <p:grpSp>
          <p:nvGrpSpPr>
            <p:cNvPr id="47" name="Gruppieren 46">
              <a:extLst>
                <a:ext uri="{FF2B5EF4-FFF2-40B4-BE49-F238E27FC236}">
                  <a16:creationId xmlns:a16="http://schemas.microsoft.com/office/drawing/2014/main" id="{86A1E4AB-D110-4567-BF7A-D5F33EA8DCB1}"/>
                </a:ext>
              </a:extLst>
            </p:cNvPr>
            <p:cNvGrpSpPr/>
            <p:nvPr/>
          </p:nvGrpSpPr>
          <p:grpSpPr>
            <a:xfrm>
              <a:off x="6573485" y="4053280"/>
              <a:ext cx="1524923" cy="302941"/>
              <a:chOff x="3813499" y="5086887"/>
              <a:chExt cx="793446" cy="147193"/>
            </a:xfrm>
          </p:grpSpPr>
          <p:sp>
            <p:nvSpPr>
              <p:cNvPr id="48" name="Ellipse 47">
                <a:extLst>
                  <a:ext uri="{FF2B5EF4-FFF2-40B4-BE49-F238E27FC236}">
                    <a16:creationId xmlns:a16="http://schemas.microsoft.com/office/drawing/2014/main" id="{8D3ACFE5-D51D-45D4-A72E-AEA84E1C975D}"/>
                  </a:ext>
                </a:extLst>
              </p:cNvPr>
              <p:cNvSpPr/>
              <p:nvPr/>
            </p:nvSpPr>
            <p:spPr>
              <a:xfrm rot="16200000">
                <a:off x="3813781" y="5086605"/>
                <a:ext cx="147193" cy="147758"/>
              </a:xfrm>
              <a:prstGeom prst="ellipse">
                <a:avLst/>
              </a:prstGeom>
              <a:noFill/>
              <a:ln w="15875">
                <a:solidFill>
                  <a:srgbClr val="777777"/>
                </a:solidFill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defTabSz="891917"/>
                <a:endParaRPr lang="de-DE" sz="1112" dirty="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49" name="Ellipse 48">
                <a:extLst>
                  <a:ext uri="{FF2B5EF4-FFF2-40B4-BE49-F238E27FC236}">
                    <a16:creationId xmlns:a16="http://schemas.microsoft.com/office/drawing/2014/main" id="{4BE15D58-986D-4544-853E-1056AF6943BE}"/>
                  </a:ext>
                </a:extLst>
              </p:cNvPr>
              <p:cNvSpPr/>
              <p:nvPr/>
            </p:nvSpPr>
            <p:spPr>
              <a:xfrm rot="16200000">
                <a:off x="3905826" y="5086819"/>
                <a:ext cx="147193" cy="147329"/>
              </a:xfrm>
              <a:prstGeom prst="ellipse">
                <a:avLst/>
              </a:prstGeom>
              <a:noFill/>
              <a:ln w="15875">
                <a:solidFill>
                  <a:srgbClr val="777777"/>
                </a:solidFill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defTabSz="891917"/>
                <a:endParaRPr lang="de-DE" sz="1112" dirty="0">
                  <a:solidFill>
                    <a:prstClr val="black"/>
                  </a:solidFill>
                  <a:latin typeface="+mj-lt"/>
                </a:endParaRPr>
              </a:p>
            </p:txBody>
          </p:sp>
          <p:cxnSp>
            <p:nvCxnSpPr>
              <p:cNvPr id="50" name="Gerade Verbindung 161">
                <a:extLst>
                  <a:ext uri="{FF2B5EF4-FFF2-40B4-BE49-F238E27FC236}">
                    <a16:creationId xmlns:a16="http://schemas.microsoft.com/office/drawing/2014/main" id="{48C88E66-FA38-4EB4-8C08-F80E9F89313A}"/>
                  </a:ext>
                </a:extLst>
              </p:cNvPr>
              <p:cNvCxnSpPr>
                <a:cxnSpLocks/>
                <a:stCxn id="49" idx="4"/>
              </p:cNvCxnSpPr>
              <p:nvPr/>
            </p:nvCxnSpPr>
            <p:spPr>
              <a:xfrm>
                <a:off x="4053087" y="5160483"/>
                <a:ext cx="553858" cy="0"/>
              </a:xfrm>
              <a:prstGeom prst="line">
                <a:avLst/>
              </a:prstGeom>
              <a:ln w="19050">
                <a:solidFill>
                  <a:srgbClr val="7777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161">
                <a:extLst>
                  <a:ext uri="{FF2B5EF4-FFF2-40B4-BE49-F238E27FC236}">
                    <a16:creationId xmlns:a16="http://schemas.microsoft.com/office/drawing/2014/main" id="{336B19A6-31BE-4DC5-8EF9-7EA67A06F2F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4174902" y="5138353"/>
                <a:ext cx="36000" cy="0"/>
              </a:xfrm>
              <a:prstGeom prst="line">
                <a:avLst/>
              </a:prstGeom>
              <a:ln w="19050">
                <a:solidFill>
                  <a:srgbClr val="7777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161">
                <a:extLst>
                  <a:ext uri="{FF2B5EF4-FFF2-40B4-BE49-F238E27FC236}">
                    <a16:creationId xmlns:a16="http://schemas.microsoft.com/office/drawing/2014/main" id="{A49375E2-95C8-428F-B013-A337F4301E9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4234282" y="5182612"/>
                <a:ext cx="36000" cy="0"/>
              </a:xfrm>
              <a:prstGeom prst="line">
                <a:avLst/>
              </a:prstGeom>
              <a:ln w="19050">
                <a:solidFill>
                  <a:srgbClr val="7777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161">
                <a:extLst>
                  <a:ext uri="{FF2B5EF4-FFF2-40B4-BE49-F238E27FC236}">
                    <a16:creationId xmlns:a16="http://schemas.microsoft.com/office/drawing/2014/main" id="{288C7928-D4F8-4B9A-B204-C3A964061E4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4396415" y="5141489"/>
                <a:ext cx="36000" cy="0"/>
              </a:xfrm>
              <a:prstGeom prst="line">
                <a:avLst/>
              </a:prstGeom>
              <a:ln w="19050">
                <a:solidFill>
                  <a:srgbClr val="7777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161">
                <a:extLst>
                  <a:ext uri="{FF2B5EF4-FFF2-40B4-BE49-F238E27FC236}">
                    <a16:creationId xmlns:a16="http://schemas.microsoft.com/office/drawing/2014/main" id="{1906069C-DAB8-4B99-8490-5FC83F7C43F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4455795" y="5182662"/>
                <a:ext cx="36000" cy="0"/>
              </a:xfrm>
              <a:prstGeom prst="line">
                <a:avLst/>
              </a:prstGeom>
              <a:ln w="19050">
                <a:solidFill>
                  <a:srgbClr val="7777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B2D81AE8-C998-4ABE-99EB-789A96726920}"/>
                </a:ext>
              </a:extLst>
            </p:cNvPr>
            <p:cNvGrpSpPr/>
            <p:nvPr/>
          </p:nvGrpSpPr>
          <p:grpSpPr>
            <a:xfrm>
              <a:off x="6573485" y="5511280"/>
              <a:ext cx="1524923" cy="302941"/>
              <a:chOff x="3813499" y="5086887"/>
              <a:chExt cx="793446" cy="147193"/>
            </a:xfrm>
          </p:grpSpPr>
          <p:sp>
            <p:nvSpPr>
              <p:cNvPr id="56" name="Ellipse 55">
                <a:extLst>
                  <a:ext uri="{FF2B5EF4-FFF2-40B4-BE49-F238E27FC236}">
                    <a16:creationId xmlns:a16="http://schemas.microsoft.com/office/drawing/2014/main" id="{DE101590-5EA9-428E-80A1-0FD49D9BCDE6}"/>
                  </a:ext>
                </a:extLst>
              </p:cNvPr>
              <p:cNvSpPr/>
              <p:nvPr/>
            </p:nvSpPr>
            <p:spPr>
              <a:xfrm rot="16200000">
                <a:off x="3813781" y="5086605"/>
                <a:ext cx="147193" cy="147758"/>
              </a:xfrm>
              <a:prstGeom prst="ellipse">
                <a:avLst/>
              </a:prstGeom>
              <a:noFill/>
              <a:ln w="15875">
                <a:solidFill>
                  <a:srgbClr val="777777"/>
                </a:solidFill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defTabSz="891917"/>
                <a:endParaRPr lang="de-DE" sz="1112" dirty="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57" name="Ellipse 56">
                <a:extLst>
                  <a:ext uri="{FF2B5EF4-FFF2-40B4-BE49-F238E27FC236}">
                    <a16:creationId xmlns:a16="http://schemas.microsoft.com/office/drawing/2014/main" id="{AD5232F9-4200-4FD2-8A6B-FF4993DC979F}"/>
                  </a:ext>
                </a:extLst>
              </p:cNvPr>
              <p:cNvSpPr/>
              <p:nvPr/>
            </p:nvSpPr>
            <p:spPr>
              <a:xfrm rot="16200000">
                <a:off x="3905826" y="5086819"/>
                <a:ext cx="147193" cy="147329"/>
              </a:xfrm>
              <a:prstGeom prst="ellipse">
                <a:avLst/>
              </a:prstGeom>
              <a:noFill/>
              <a:ln w="15875">
                <a:solidFill>
                  <a:srgbClr val="777777"/>
                </a:solidFill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defTabSz="891917"/>
                <a:endParaRPr lang="de-DE" sz="1112" dirty="0">
                  <a:solidFill>
                    <a:prstClr val="black"/>
                  </a:solidFill>
                  <a:latin typeface="+mj-lt"/>
                </a:endParaRPr>
              </a:p>
            </p:txBody>
          </p:sp>
          <p:cxnSp>
            <p:nvCxnSpPr>
              <p:cNvPr id="58" name="Gerade Verbindung 161">
                <a:extLst>
                  <a:ext uri="{FF2B5EF4-FFF2-40B4-BE49-F238E27FC236}">
                    <a16:creationId xmlns:a16="http://schemas.microsoft.com/office/drawing/2014/main" id="{EC991283-EC94-44BC-B235-196A1BC7FD1B}"/>
                  </a:ext>
                </a:extLst>
              </p:cNvPr>
              <p:cNvCxnSpPr>
                <a:cxnSpLocks/>
                <a:stCxn id="57" idx="4"/>
              </p:cNvCxnSpPr>
              <p:nvPr/>
            </p:nvCxnSpPr>
            <p:spPr>
              <a:xfrm>
                <a:off x="4053087" y="5160483"/>
                <a:ext cx="553858" cy="0"/>
              </a:xfrm>
              <a:prstGeom prst="line">
                <a:avLst/>
              </a:prstGeom>
              <a:ln w="19050">
                <a:solidFill>
                  <a:srgbClr val="7777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161">
                <a:extLst>
                  <a:ext uri="{FF2B5EF4-FFF2-40B4-BE49-F238E27FC236}">
                    <a16:creationId xmlns:a16="http://schemas.microsoft.com/office/drawing/2014/main" id="{9B28BD0B-1D63-46AA-9847-34FCF687891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4174902" y="5138353"/>
                <a:ext cx="36000" cy="0"/>
              </a:xfrm>
              <a:prstGeom prst="line">
                <a:avLst/>
              </a:prstGeom>
              <a:ln w="19050">
                <a:solidFill>
                  <a:srgbClr val="7777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161">
                <a:extLst>
                  <a:ext uri="{FF2B5EF4-FFF2-40B4-BE49-F238E27FC236}">
                    <a16:creationId xmlns:a16="http://schemas.microsoft.com/office/drawing/2014/main" id="{2C2146E9-7364-4B2D-BE2F-B5D60D00332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4234282" y="5182612"/>
                <a:ext cx="36000" cy="0"/>
              </a:xfrm>
              <a:prstGeom prst="line">
                <a:avLst/>
              </a:prstGeom>
              <a:ln w="19050">
                <a:solidFill>
                  <a:srgbClr val="7777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161">
                <a:extLst>
                  <a:ext uri="{FF2B5EF4-FFF2-40B4-BE49-F238E27FC236}">
                    <a16:creationId xmlns:a16="http://schemas.microsoft.com/office/drawing/2014/main" id="{B6624147-D938-46F4-B2BC-A4D993AB663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4396415" y="5141489"/>
                <a:ext cx="36000" cy="0"/>
              </a:xfrm>
              <a:prstGeom prst="line">
                <a:avLst/>
              </a:prstGeom>
              <a:ln w="19050">
                <a:solidFill>
                  <a:srgbClr val="7777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161">
                <a:extLst>
                  <a:ext uri="{FF2B5EF4-FFF2-40B4-BE49-F238E27FC236}">
                    <a16:creationId xmlns:a16="http://schemas.microsoft.com/office/drawing/2014/main" id="{7B0B04D5-1C9D-4FB6-9109-24BD940B4A2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4455795" y="5182662"/>
                <a:ext cx="36000" cy="0"/>
              </a:xfrm>
              <a:prstGeom prst="line">
                <a:avLst/>
              </a:prstGeom>
              <a:ln w="19050">
                <a:solidFill>
                  <a:srgbClr val="7777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63" name="Grafik 62">
              <a:extLst>
                <a:ext uri="{FF2B5EF4-FFF2-40B4-BE49-F238E27FC236}">
                  <a16:creationId xmlns:a16="http://schemas.microsoft.com/office/drawing/2014/main" id="{86DC4157-A477-4A0C-B821-74E09D5B105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50358" y="5745526"/>
              <a:ext cx="179259" cy="187439"/>
            </a:xfrm>
            <a:prstGeom prst="rect">
              <a:avLst/>
            </a:prstGeom>
          </p:spPr>
        </p:pic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C5086F82-2FB5-4E7F-86C6-7A2CB97DBDA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48754" y="5008383"/>
              <a:ext cx="179259" cy="187439"/>
            </a:xfrm>
            <a:prstGeom prst="rect">
              <a:avLst/>
            </a:prstGeom>
          </p:spPr>
        </p:pic>
        <p:pic>
          <p:nvPicPr>
            <p:cNvPr id="65" name="Grafik 64">
              <a:extLst>
                <a:ext uri="{FF2B5EF4-FFF2-40B4-BE49-F238E27FC236}">
                  <a16:creationId xmlns:a16="http://schemas.microsoft.com/office/drawing/2014/main" id="{2B79A765-1853-48A6-97E7-90FB04752A0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23028" y="5008286"/>
              <a:ext cx="179259" cy="187439"/>
            </a:xfrm>
            <a:prstGeom prst="rect">
              <a:avLst/>
            </a:prstGeom>
          </p:spPr>
        </p:pic>
        <p:pic>
          <p:nvPicPr>
            <p:cNvPr id="66" name="Grafik 65">
              <a:extLst>
                <a:ext uri="{FF2B5EF4-FFF2-40B4-BE49-F238E27FC236}">
                  <a16:creationId xmlns:a16="http://schemas.microsoft.com/office/drawing/2014/main" id="{7D18183B-DA95-4A47-A904-69B09CF4A56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29227" y="5733953"/>
              <a:ext cx="179259" cy="187439"/>
            </a:xfrm>
            <a:prstGeom prst="rect">
              <a:avLst/>
            </a:prstGeom>
          </p:spPr>
        </p:pic>
        <p:pic>
          <p:nvPicPr>
            <p:cNvPr id="67" name="Grafik 66">
              <a:extLst>
                <a:ext uri="{FF2B5EF4-FFF2-40B4-BE49-F238E27FC236}">
                  <a16:creationId xmlns:a16="http://schemas.microsoft.com/office/drawing/2014/main" id="{2EC838C9-55AF-4702-8899-1E703C4E930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37441" y="4262501"/>
              <a:ext cx="179259" cy="187439"/>
            </a:xfrm>
            <a:prstGeom prst="rect">
              <a:avLst/>
            </a:prstGeom>
          </p:spPr>
        </p:pic>
        <p:pic>
          <p:nvPicPr>
            <p:cNvPr id="68" name="Grafik 67">
              <a:extLst>
                <a:ext uri="{FF2B5EF4-FFF2-40B4-BE49-F238E27FC236}">
                  <a16:creationId xmlns:a16="http://schemas.microsoft.com/office/drawing/2014/main" id="{B3E89C0E-3FE6-4453-A784-71B20FCFD00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52492" y="4713438"/>
              <a:ext cx="140789" cy="159253"/>
            </a:xfrm>
            <a:prstGeom prst="rect">
              <a:avLst/>
            </a:prstGeom>
          </p:spPr>
        </p:pic>
        <p:pic>
          <p:nvPicPr>
            <p:cNvPr id="69" name="Grafik 68">
              <a:extLst>
                <a:ext uri="{FF2B5EF4-FFF2-40B4-BE49-F238E27FC236}">
                  <a16:creationId xmlns:a16="http://schemas.microsoft.com/office/drawing/2014/main" id="{C24DBC1A-BB57-4D65-87FD-9C242EB1C95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1493" y="5432293"/>
              <a:ext cx="140789" cy="159253"/>
            </a:xfrm>
            <a:prstGeom prst="rect">
              <a:avLst/>
            </a:prstGeom>
          </p:spPr>
        </p:pic>
        <p:pic>
          <p:nvPicPr>
            <p:cNvPr id="70" name="Grafik 69">
              <a:extLst>
                <a:ext uri="{FF2B5EF4-FFF2-40B4-BE49-F238E27FC236}">
                  <a16:creationId xmlns:a16="http://schemas.microsoft.com/office/drawing/2014/main" id="{461999DB-EEC1-4D4B-844C-AEFB2A21C07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0447077">
              <a:off x="7265795" y="5348183"/>
              <a:ext cx="144000" cy="137408"/>
            </a:xfrm>
            <a:prstGeom prst="rect">
              <a:avLst/>
            </a:prstGeom>
          </p:spPr>
        </p:pic>
        <p:pic>
          <p:nvPicPr>
            <p:cNvPr id="71" name="Grafik 70">
              <a:extLst>
                <a:ext uri="{FF2B5EF4-FFF2-40B4-BE49-F238E27FC236}">
                  <a16:creationId xmlns:a16="http://schemas.microsoft.com/office/drawing/2014/main" id="{3CB4626A-C888-4A3E-BFBC-56765E376A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10930" y="5800669"/>
              <a:ext cx="138643" cy="132296"/>
            </a:xfrm>
            <a:prstGeom prst="rect">
              <a:avLst/>
            </a:prstGeom>
          </p:spPr>
        </p:pic>
        <p:pic>
          <p:nvPicPr>
            <p:cNvPr id="72" name="Grafik 71">
              <a:extLst>
                <a:ext uri="{FF2B5EF4-FFF2-40B4-BE49-F238E27FC236}">
                  <a16:creationId xmlns:a16="http://schemas.microsoft.com/office/drawing/2014/main" id="{3721E87D-E032-4831-BEAB-9D2C685D39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5349" y="5711033"/>
              <a:ext cx="252000" cy="240464"/>
            </a:xfrm>
            <a:prstGeom prst="rect">
              <a:avLst/>
            </a:prstGeom>
          </p:spPr>
        </p:pic>
        <p:grpSp>
          <p:nvGrpSpPr>
            <p:cNvPr id="73" name="Gruppieren 72">
              <a:extLst>
                <a:ext uri="{FF2B5EF4-FFF2-40B4-BE49-F238E27FC236}">
                  <a16:creationId xmlns:a16="http://schemas.microsoft.com/office/drawing/2014/main" id="{7C47E887-14C6-465B-82BE-53F71F20D483}"/>
                </a:ext>
              </a:extLst>
            </p:cNvPr>
            <p:cNvGrpSpPr/>
            <p:nvPr/>
          </p:nvGrpSpPr>
          <p:grpSpPr>
            <a:xfrm>
              <a:off x="9289883" y="3894522"/>
              <a:ext cx="483161" cy="605033"/>
              <a:chOff x="8003899" y="1321887"/>
              <a:chExt cx="483161" cy="605033"/>
            </a:xfrm>
          </p:grpSpPr>
          <p:pic>
            <p:nvPicPr>
              <p:cNvPr id="74" name="Grafik 73">
                <a:extLst>
                  <a:ext uri="{FF2B5EF4-FFF2-40B4-BE49-F238E27FC236}">
                    <a16:creationId xmlns:a16="http://schemas.microsoft.com/office/drawing/2014/main" id="{5B785B34-7863-41B0-8CA2-C80349DF47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23725" y="1593738"/>
                <a:ext cx="185876" cy="177367"/>
              </a:xfrm>
              <a:prstGeom prst="rect">
                <a:avLst/>
              </a:prstGeom>
            </p:spPr>
          </p:pic>
          <p:pic>
            <p:nvPicPr>
              <p:cNvPr id="75" name="Grafik 74">
                <a:extLst>
                  <a:ext uri="{FF2B5EF4-FFF2-40B4-BE49-F238E27FC236}">
                    <a16:creationId xmlns:a16="http://schemas.microsoft.com/office/drawing/2014/main" id="{E4B2C070-6B3C-495B-B402-90C102B2C7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03899" y="1321887"/>
                <a:ext cx="252000" cy="240464"/>
              </a:xfrm>
              <a:prstGeom prst="rect">
                <a:avLst/>
              </a:prstGeom>
            </p:spPr>
          </p:pic>
          <p:pic>
            <p:nvPicPr>
              <p:cNvPr id="76" name="Grafik 75">
                <a:extLst>
                  <a:ext uri="{FF2B5EF4-FFF2-40B4-BE49-F238E27FC236}">
                    <a16:creationId xmlns:a16="http://schemas.microsoft.com/office/drawing/2014/main" id="{9F26B329-6034-4FA5-8E3F-DCB6A400EF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61899" y="1388422"/>
                <a:ext cx="171538" cy="163685"/>
              </a:xfrm>
              <a:prstGeom prst="rect">
                <a:avLst/>
              </a:prstGeom>
            </p:spPr>
          </p:pic>
          <p:pic>
            <p:nvPicPr>
              <p:cNvPr id="77" name="Grafik 76">
                <a:extLst>
                  <a:ext uri="{FF2B5EF4-FFF2-40B4-BE49-F238E27FC236}">
                    <a16:creationId xmlns:a16="http://schemas.microsoft.com/office/drawing/2014/main" id="{7D4B5D2D-5AF6-4E32-9710-F43332210A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35060" y="1551183"/>
                <a:ext cx="252000" cy="240464"/>
              </a:xfrm>
              <a:prstGeom prst="rect">
                <a:avLst/>
              </a:prstGeom>
            </p:spPr>
          </p:pic>
          <p:pic>
            <p:nvPicPr>
              <p:cNvPr id="78" name="Grafik 77">
                <a:extLst>
                  <a:ext uri="{FF2B5EF4-FFF2-40B4-BE49-F238E27FC236}">
                    <a16:creationId xmlns:a16="http://schemas.microsoft.com/office/drawing/2014/main" id="{63FBBA70-DD33-4C30-9AA1-87B7D76FD7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51214" y="1802389"/>
                <a:ext cx="180000" cy="124531"/>
              </a:xfrm>
              <a:prstGeom prst="rect">
                <a:avLst/>
              </a:prstGeom>
            </p:spPr>
          </p:pic>
        </p:grpSp>
        <p:grpSp>
          <p:nvGrpSpPr>
            <p:cNvPr id="79" name="Gruppieren 78">
              <a:extLst>
                <a:ext uri="{FF2B5EF4-FFF2-40B4-BE49-F238E27FC236}">
                  <a16:creationId xmlns:a16="http://schemas.microsoft.com/office/drawing/2014/main" id="{104537F2-0F03-440A-AB4A-D3753BD0F88B}"/>
                </a:ext>
              </a:extLst>
            </p:cNvPr>
            <p:cNvGrpSpPr/>
            <p:nvPr/>
          </p:nvGrpSpPr>
          <p:grpSpPr>
            <a:xfrm>
              <a:off x="9286088" y="4615852"/>
              <a:ext cx="483161" cy="605033"/>
              <a:chOff x="8003899" y="1321887"/>
              <a:chExt cx="483161" cy="605033"/>
            </a:xfrm>
          </p:grpSpPr>
          <p:pic>
            <p:nvPicPr>
              <p:cNvPr id="80" name="Grafik 79">
                <a:extLst>
                  <a:ext uri="{FF2B5EF4-FFF2-40B4-BE49-F238E27FC236}">
                    <a16:creationId xmlns:a16="http://schemas.microsoft.com/office/drawing/2014/main" id="{288D29DE-FB10-4F2E-9E01-79795089C0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23725" y="1593738"/>
                <a:ext cx="185876" cy="177367"/>
              </a:xfrm>
              <a:prstGeom prst="rect">
                <a:avLst/>
              </a:prstGeom>
            </p:spPr>
          </p:pic>
          <p:pic>
            <p:nvPicPr>
              <p:cNvPr id="81" name="Grafik 80">
                <a:extLst>
                  <a:ext uri="{FF2B5EF4-FFF2-40B4-BE49-F238E27FC236}">
                    <a16:creationId xmlns:a16="http://schemas.microsoft.com/office/drawing/2014/main" id="{FF07E3BE-71C8-4805-AC6D-BE6C8D7ED2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03899" y="1321887"/>
                <a:ext cx="252000" cy="240464"/>
              </a:xfrm>
              <a:prstGeom prst="rect">
                <a:avLst/>
              </a:prstGeom>
            </p:spPr>
          </p:pic>
          <p:pic>
            <p:nvPicPr>
              <p:cNvPr id="82" name="Grafik 81">
                <a:extLst>
                  <a:ext uri="{FF2B5EF4-FFF2-40B4-BE49-F238E27FC236}">
                    <a16:creationId xmlns:a16="http://schemas.microsoft.com/office/drawing/2014/main" id="{D3718F8F-2D5E-4E7D-86DA-3EC851DA91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61899" y="1388422"/>
                <a:ext cx="171538" cy="163685"/>
              </a:xfrm>
              <a:prstGeom prst="rect">
                <a:avLst/>
              </a:prstGeom>
            </p:spPr>
          </p:pic>
          <p:pic>
            <p:nvPicPr>
              <p:cNvPr id="83" name="Grafik 82">
                <a:extLst>
                  <a:ext uri="{FF2B5EF4-FFF2-40B4-BE49-F238E27FC236}">
                    <a16:creationId xmlns:a16="http://schemas.microsoft.com/office/drawing/2014/main" id="{40C86931-6F98-441E-A6F4-E8F2E05CF2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35060" y="1551183"/>
                <a:ext cx="252000" cy="240464"/>
              </a:xfrm>
              <a:prstGeom prst="rect">
                <a:avLst/>
              </a:prstGeom>
            </p:spPr>
          </p:pic>
          <p:pic>
            <p:nvPicPr>
              <p:cNvPr id="84" name="Grafik 83">
                <a:extLst>
                  <a:ext uri="{FF2B5EF4-FFF2-40B4-BE49-F238E27FC236}">
                    <a16:creationId xmlns:a16="http://schemas.microsoft.com/office/drawing/2014/main" id="{10DD3C30-E30E-4828-B47E-14B90BF414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41688" y="1802389"/>
                <a:ext cx="180000" cy="124531"/>
              </a:xfrm>
              <a:prstGeom prst="rect">
                <a:avLst/>
              </a:prstGeom>
            </p:spPr>
          </p:pic>
        </p:grpSp>
        <p:pic>
          <p:nvPicPr>
            <p:cNvPr id="85" name="Grafik 84">
              <a:extLst>
                <a:ext uri="{FF2B5EF4-FFF2-40B4-BE49-F238E27FC236}">
                  <a16:creationId xmlns:a16="http://schemas.microsoft.com/office/drawing/2014/main" id="{5DD284A8-2DC4-4E9E-9C15-A4767F9BC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56675" y="3969359"/>
              <a:ext cx="140789" cy="159253"/>
            </a:xfrm>
            <a:prstGeom prst="rect">
              <a:avLst/>
            </a:prstGeom>
          </p:spPr>
        </p:pic>
        <p:grpSp>
          <p:nvGrpSpPr>
            <p:cNvPr id="86" name="Gruppieren 85">
              <a:extLst>
                <a:ext uri="{FF2B5EF4-FFF2-40B4-BE49-F238E27FC236}">
                  <a16:creationId xmlns:a16="http://schemas.microsoft.com/office/drawing/2014/main" id="{A314783C-7500-45EA-8A33-0E566C82D402}"/>
                </a:ext>
              </a:extLst>
            </p:cNvPr>
            <p:cNvGrpSpPr/>
            <p:nvPr/>
          </p:nvGrpSpPr>
          <p:grpSpPr>
            <a:xfrm>
              <a:off x="10079603" y="4088452"/>
              <a:ext cx="251124" cy="284186"/>
              <a:chOff x="10725284" y="2961439"/>
              <a:chExt cx="251124" cy="284186"/>
            </a:xfrm>
          </p:grpSpPr>
          <p:grpSp>
            <p:nvGrpSpPr>
              <p:cNvPr id="87" name="Gruppieren 86">
                <a:extLst>
                  <a:ext uri="{FF2B5EF4-FFF2-40B4-BE49-F238E27FC236}">
                    <a16:creationId xmlns:a16="http://schemas.microsoft.com/office/drawing/2014/main" id="{71036C1B-E993-434B-9E21-ABE003D635C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0893934" y="3068299"/>
                <a:ext cx="82474" cy="177326"/>
                <a:chOff x="2623147" y="1393713"/>
                <a:chExt cx="1926939" cy="4143158"/>
              </a:xfrm>
              <a:solidFill>
                <a:srgbClr val="7D7D7D"/>
              </a:solidFill>
            </p:grpSpPr>
            <p:sp>
              <p:nvSpPr>
                <p:cNvPr id="99" name="Abgerundetes Rechteck 241">
                  <a:extLst>
                    <a:ext uri="{FF2B5EF4-FFF2-40B4-BE49-F238E27FC236}">
                      <a16:creationId xmlns:a16="http://schemas.microsoft.com/office/drawing/2014/main" id="{2E942A73-E7C9-438D-A868-74CEADF675C3}"/>
                    </a:ext>
                  </a:extLst>
                </p:cNvPr>
                <p:cNvSpPr/>
                <p:nvPr/>
              </p:nvSpPr>
              <p:spPr>
                <a:xfrm rot="13586498">
                  <a:off x="3299701" y="3032258"/>
                  <a:ext cx="1505144" cy="244492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00" name="Abgerundetes Rechteck 242">
                  <a:extLst>
                    <a:ext uri="{FF2B5EF4-FFF2-40B4-BE49-F238E27FC236}">
                      <a16:creationId xmlns:a16="http://schemas.microsoft.com/office/drawing/2014/main" id="{FBDDC0B0-A808-426B-B71B-3D9D780AA169}"/>
                    </a:ext>
                  </a:extLst>
                </p:cNvPr>
                <p:cNvSpPr/>
                <p:nvPr/>
              </p:nvSpPr>
              <p:spPr>
                <a:xfrm rot="18159370">
                  <a:off x="2190648" y="4297516"/>
                  <a:ext cx="2078661" cy="400050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01" name="Abgerundetes Rechteck 243">
                  <a:extLst>
                    <a:ext uri="{FF2B5EF4-FFF2-40B4-BE49-F238E27FC236}">
                      <a16:creationId xmlns:a16="http://schemas.microsoft.com/office/drawing/2014/main" id="{559C046B-B68E-4864-B749-6B0340D50505}"/>
                    </a:ext>
                  </a:extLst>
                </p:cNvPr>
                <p:cNvSpPr/>
                <p:nvPr/>
              </p:nvSpPr>
              <p:spPr>
                <a:xfrm rot="16200000">
                  <a:off x="2605082" y="2788076"/>
                  <a:ext cx="2078661" cy="793376"/>
                </a:xfrm>
                <a:prstGeom prst="roundRect">
                  <a:avLst>
                    <a:gd name="adj" fmla="val 45238"/>
                  </a:avLst>
                </a:prstGeom>
                <a:grpFill/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02" name="Abgerundetes Rechteck 244">
                  <a:extLst>
                    <a:ext uri="{FF2B5EF4-FFF2-40B4-BE49-F238E27FC236}">
                      <a16:creationId xmlns:a16="http://schemas.microsoft.com/office/drawing/2014/main" id="{58BB7532-B2F0-40EA-AD12-953A49300C07}"/>
                    </a:ext>
                  </a:extLst>
                </p:cNvPr>
                <p:cNvSpPr/>
                <p:nvPr/>
              </p:nvSpPr>
              <p:spPr>
                <a:xfrm rot="13947735">
                  <a:off x="3396267" y="4024071"/>
                  <a:ext cx="1243503" cy="400050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03" name="Abgerundetes Rechteck 245">
                  <a:extLst>
                    <a:ext uri="{FF2B5EF4-FFF2-40B4-BE49-F238E27FC236}">
                      <a16:creationId xmlns:a16="http://schemas.microsoft.com/office/drawing/2014/main" id="{E2146789-5C27-4E56-9E0E-946BCC01332A}"/>
                    </a:ext>
                  </a:extLst>
                </p:cNvPr>
                <p:cNvSpPr/>
                <p:nvPr/>
              </p:nvSpPr>
              <p:spPr>
                <a:xfrm rot="15490463">
                  <a:off x="3806964" y="4743828"/>
                  <a:ext cx="1106660" cy="379585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04" name="Ellipse 103">
                  <a:extLst>
                    <a:ext uri="{FF2B5EF4-FFF2-40B4-BE49-F238E27FC236}">
                      <a16:creationId xmlns:a16="http://schemas.microsoft.com/office/drawing/2014/main" id="{14A91E17-A4F5-4897-B398-4DA089881F61}"/>
                    </a:ext>
                  </a:extLst>
                </p:cNvPr>
                <p:cNvSpPr/>
                <p:nvPr/>
              </p:nvSpPr>
              <p:spPr>
                <a:xfrm>
                  <a:off x="3423525" y="1393713"/>
                  <a:ext cx="689602" cy="6912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05" name="Abgerundetes Rechteck 247">
                  <a:extLst>
                    <a:ext uri="{FF2B5EF4-FFF2-40B4-BE49-F238E27FC236}">
                      <a16:creationId xmlns:a16="http://schemas.microsoft.com/office/drawing/2014/main" id="{46866871-9DAB-4F7F-9946-2606ED85A7B8}"/>
                    </a:ext>
                  </a:extLst>
                </p:cNvPr>
                <p:cNvSpPr/>
                <p:nvPr/>
              </p:nvSpPr>
              <p:spPr>
                <a:xfrm rot="8753946">
                  <a:off x="2707572" y="2568703"/>
                  <a:ext cx="948294" cy="244492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06" name="Abgerundetes Rechteck 248">
                  <a:extLst>
                    <a:ext uri="{FF2B5EF4-FFF2-40B4-BE49-F238E27FC236}">
                      <a16:creationId xmlns:a16="http://schemas.microsoft.com/office/drawing/2014/main" id="{2C711925-6DF2-4C66-8244-468AE362D67A}"/>
                    </a:ext>
                  </a:extLst>
                </p:cNvPr>
                <p:cNvSpPr/>
                <p:nvPr/>
              </p:nvSpPr>
              <p:spPr>
                <a:xfrm rot="6512919">
                  <a:off x="2279225" y="3136163"/>
                  <a:ext cx="932336" cy="244492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</p:grpSp>
          <p:grpSp>
            <p:nvGrpSpPr>
              <p:cNvPr id="88" name="Gruppieren 87">
                <a:extLst>
                  <a:ext uri="{FF2B5EF4-FFF2-40B4-BE49-F238E27FC236}">
                    <a16:creationId xmlns:a16="http://schemas.microsoft.com/office/drawing/2014/main" id="{FBC057EC-A600-47FA-93F7-C610D362CFD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0725284" y="2961439"/>
                <a:ext cx="172428" cy="172582"/>
                <a:chOff x="527997" y="2834137"/>
                <a:chExt cx="1014294" cy="1015200"/>
              </a:xfrm>
              <a:solidFill>
                <a:srgbClr val="7D7D7D"/>
              </a:solidFill>
            </p:grpSpPr>
            <p:grpSp>
              <p:nvGrpSpPr>
                <p:cNvPr id="89" name="Gruppieren 88">
                  <a:extLst>
                    <a:ext uri="{FF2B5EF4-FFF2-40B4-BE49-F238E27FC236}">
                      <a16:creationId xmlns:a16="http://schemas.microsoft.com/office/drawing/2014/main" id="{92EA0741-54BB-4F94-AC19-CC7F5D4207EB}"/>
                    </a:ext>
                  </a:extLst>
                </p:cNvPr>
                <p:cNvGrpSpPr/>
                <p:nvPr/>
              </p:nvGrpSpPr>
              <p:grpSpPr>
                <a:xfrm>
                  <a:off x="527997" y="2834137"/>
                  <a:ext cx="1014294" cy="1015200"/>
                  <a:chOff x="7482838" y="4551044"/>
                  <a:chExt cx="733425" cy="777932"/>
                </a:xfrm>
                <a:grpFill/>
              </p:grpSpPr>
              <p:grpSp>
                <p:nvGrpSpPr>
                  <p:cNvPr id="94" name="Gruppieren 93">
                    <a:extLst>
                      <a:ext uri="{FF2B5EF4-FFF2-40B4-BE49-F238E27FC236}">
                        <a16:creationId xmlns:a16="http://schemas.microsoft.com/office/drawing/2014/main" id="{B5D1D8AE-9015-4037-B22A-9C0EC07157FE}"/>
                      </a:ext>
                    </a:extLst>
                  </p:cNvPr>
                  <p:cNvGrpSpPr/>
                  <p:nvPr/>
                </p:nvGrpSpPr>
                <p:grpSpPr>
                  <a:xfrm>
                    <a:off x="7482838" y="4551044"/>
                    <a:ext cx="733425" cy="777932"/>
                    <a:chOff x="7278255" y="4462289"/>
                    <a:chExt cx="960870" cy="1031675"/>
                  </a:xfrm>
                  <a:grpFill/>
                </p:grpSpPr>
                <p:sp>
                  <p:nvSpPr>
                    <p:cNvPr id="96" name="Rad 46">
                      <a:extLst>
                        <a:ext uri="{FF2B5EF4-FFF2-40B4-BE49-F238E27FC236}">
                          <a16:creationId xmlns:a16="http://schemas.microsoft.com/office/drawing/2014/main" id="{D5407182-1820-4334-B576-EACDF38566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8255" y="4462289"/>
                      <a:ext cx="960870" cy="1031675"/>
                    </a:xfrm>
                    <a:prstGeom prst="donut">
                      <a:avLst>
                        <a:gd name="adj" fmla="val 8851"/>
                      </a:avLst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14400" fontAlgn="base">
                        <a:lnSpc>
                          <a:spcPct val="11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bg-BG" dirty="0">
                        <a:solidFill>
                          <a:prstClr val="black"/>
                        </a:solidFill>
                        <a:latin typeface="+mj-lt"/>
                      </a:endParaRPr>
                    </a:p>
                  </p:txBody>
                </p:sp>
                <p:cxnSp>
                  <p:nvCxnSpPr>
                    <p:cNvPr id="97" name="Gerade Verbindung mit Pfeil 96">
                      <a:extLst>
                        <a:ext uri="{FF2B5EF4-FFF2-40B4-BE49-F238E27FC236}">
                          <a16:creationId xmlns:a16="http://schemas.microsoft.com/office/drawing/2014/main" id="{5D47FA93-AB40-4E1E-B89C-1E43E92889E8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7747508" y="4968875"/>
                      <a:ext cx="287533" cy="0"/>
                    </a:xfrm>
                    <a:prstGeom prst="straightConnector1">
                      <a:avLst/>
                    </a:prstGeom>
                    <a:grpFill/>
                    <a:ln w="12700">
                      <a:headEnd type="none" w="med" len="med"/>
                      <a:tailEnd type="none" w="med" len="med"/>
                    </a:ln>
                  </p:spPr>
                  <p:style>
                    <a:lnRef idx="3">
                      <a:schemeClr val="dk1"/>
                    </a:lnRef>
                    <a:fillRef idx="0">
                      <a:schemeClr val="dk1"/>
                    </a:fillRef>
                    <a:effectRef idx="2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8" name="Gerade Verbindung mit Pfeil 97">
                      <a:extLst>
                        <a:ext uri="{FF2B5EF4-FFF2-40B4-BE49-F238E27FC236}">
                          <a16:creationId xmlns:a16="http://schemas.microsoft.com/office/drawing/2014/main" id="{70F8F3A1-DEC0-435C-B442-076894B809EF}"/>
                        </a:ext>
                      </a:extLst>
                    </p:cNvPr>
                    <p:cNvCxnSpPr/>
                    <p:nvPr/>
                  </p:nvCxnSpPr>
                  <p:spPr>
                    <a:xfrm flipH="1" flipV="1">
                      <a:off x="7567879" y="4650024"/>
                      <a:ext cx="204079" cy="322806"/>
                    </a:xfrm>
                    <a:prstGeom prst="straightConnector1">
                      <a:avLst/>
                    </a:prstGeom>
                    <a:grpFill/>
                    <a:ln w="12700">
                      <a:headEnd type="none" w="med" len="med"/>
                      <a:tailEnd type="none" w="med" len="med"/>
                    </a:ln>
                  </p:spPr>
                  <p:style>
                    <a:lnRef idx="3">
                      <a:schemeClr val="dk1"/>
                    </a:lnRef>
                    <a:fillRef idx="0">
                      <a:schemeClr val="dk1"/>
                    </a:fillRef>
                    <a:effectRef idx="2">
                      <a:schemeClr val="dk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95" name="Flussdiagramm: Verbinder 94">
                    <a:extLst>
                      <a:ext uri="{FF2B5EF4-FFF2-40B4-BE49-F238E27FC236}">
                        <a16:creationId xmlns:a16="http://schemas.microsoft.com/office/drawing/2014/main" id="{90F1DAA8-447E-4B31-A9B9-6992BCAA881E}"/>
                      </a:ext>
                    </a:extLst>
                  </p:cNvPr>
                  <p:cNvSpPr/>
                  <p:nvPr/>
                </p:nvSpPr>
                <p:spPr>
                  <a:xfrm>
                    <a:off x="7826690" y="4911393"/>
                    <a:ext cx="45719" cy="47625"/>
                  </a:xfrm>
                  <a:prstGeom prst="flowChartConnector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14400" fontAlgn="base">
                      <a:lnSpc>
                        <a:spcPct val="114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bg-BG" dirty="0">
                      <a:solidFill>
                        <a:prstClr val="white"/>
                      </a:solidFill>
                      <a:latin typeface="+mj-lt"/>
                    </a:endParaRPr>
                  </a:p>
                </p:txBody>
              </p:sp>
            </p:grpSp>
            <p:cxnSp>
              <p:nvCxnSpPr>
                <p:cNvPr id="90" name="Gerader Verbinder 89">
                  <a:extLst>
                    <a:ext uri="{FF2B5EF4-FFF2-40B4-BE49-F238E27FC236}">
                      <a16:creationId xmlns:a16="http://schemas.microsoft.com/office/drawing/2014/main" id="{A1B26CFE-F13C-4F13-AF92-AD97D1C8E2ED}"/>
                    </a:ext>
                  </a:extLst>
                </p:cNvPr>
                <p:cNvCxnSpPr/>
                <p:nvPr/>
              </p:nvCxnSpPr>
              <p:spPr>
                <a:xfrm>
                  <a:off x="1035142" y="3681768"/>
                  <a:ext cx="2" cy="152191"/>
                </a:xfrm>
                <a:prstGeom prst="line">
                  <a:avLst/>
                </a:prstGeom>
                <a:grpFill/>
                <a:ln>
                  <a:solidFill>
                    <a:srgbClr val="00284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Gerader Verbinder 90">
                  <a:extLst>
                    <a:ext uri="{FF2B5EF4-FFF2-40B4-BE49-F238E27FC236}">
                      <a16:creationId xmlns:a16="http://schemas.microsoft.com/office/drawing/2014/main" id="{FB70E36D-075D-432C-9BA3-798EAAE75BEE}"/>
                    </a:ext>
                  </a:extLst>
                </p:cNvPr>
                <p:cNvCxnSpPr/>
                <p:nvPr/>
              </p:nvCxnSpPr>
              <p:spPr>
                <a:xfrm>
                  <a:off x="1038340" y="2852678"/>
                  <a:ext cx="2" cy="152191"/>
                </a:xfrm>
                <a:prstGeom prst="line">
                  <a:avLst/>
                </a:prstGeom>
                <a:grpFill/>
                <a:ln>
                  <a:solidFill>
                    <a:srgbClr val="00284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Gerader Verbinder 91">
                  <a:extLst>
                    <a:ext uri="{FF2B5EF4-FFF2-40B4-BE49-F238E27FC236}">
                      <a16:creationId xmlns:a16="http://schemas.microsoft.com/office/drawing/2014/main" id="{CC74778A-AD74-458D-BEFE-C3926008A49C}"/>
                    </a:ext>
                  </a:extLst>
                </p:cNvPr>
                <p:cNvCxnSpPr/>
                <p:nvPr/>
              </p:nvCxnSpPr>
              <p:spPr>
                <a:xfrm flipH="1">
                  <a:off x="545459" y="3341737"/>
                  <a:ext cx="151200" cy="0"/>
                </a:xfrm>
                <a:prstGeom prst="line">
                  <a:avLst/>
                </a:prstGeom>
                <a:grpFill/>
                <a:ln>
                  <a:solidFill>
                    <a:srgbClr val="00284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Gerader Verbinder 92">
                  <a:extLst>
                    <a:ext uri="{FF2B5EF4-FFF2-40B4-BE49-F238E27FC236}">
                      <a16:creationId xmlns:a16="http://schemas.microsoft.com/office/drawing/2014/main" id="{35241CA4-5EEC-4A41-BB37-3993E736789E}"/>
                    </a:ext>
                  </a:extLst>
                </p:cNvPr>
                <p:cNvCxnSpPr/>
                <p:nvPr/>
              </p:nvCxnSpPr>
              <p:spPr>
                <a:xfrm flipH="1">
                  <a:off x="1368866" y="3332633"/>
                  <a:ext cx="151200" cy="0"/>
                </a:xfrm>
                <a:prstGeom prst="line">
                  <a:avLst/>
                </a:prstGeom>
                <a:grpFill/>
                <a:ln>
                  <a:solidFill>
                    <a:srgbClr val="00284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07" name="Gruppieren 106">
              <a:extLst>
                <a:ext uri="{FF2B5EF4-FFF2-40B4-BE49-F238E27FC236}">
                  <a16:creationId xmlns:a16="http://schemas.microsoft.com/office/drawing/2014/main" id="{142C11A6-64C7-49E4-8BC2-6B3759655F97}"/>
                </a:ext>
              </a:extLst>
            </p:cNvPr>
            <p:cNvGrpSpPr/>
            <p:nvPr/>
          </p:nvGrpSpPr>
          <p:grpSpPr>
            <a:xfrm>
              <a:off x="10087202" y="4763096"/>
              <a:ext cx="251124" cy="284186"/>
              <a:chOff x="10725284" y="2961439"/>
              <a:chExt cx="251124" cy="284186"/>
            </a:xfrm>
          </p:grpSpPr>
          <p:grpSp>
            <p:nvGrpSpPr>
              <p:cNvPr id="108" name="Gruppieren 107">
                <a:extLst>
                  <a:ext uri="{FF2B5EF4-FFF2-40B4-BE49-F238E27FC236}">
                    <a16:creationId xmlns:a16="http://schemas.microsoft.com/office/drawing/2014/main" id="{BDC70CAE-9351-40C1-B349-7E003FA39E9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0893934" y="3068299"/>
                <a:ext cx="82474" cy="177326"/>
                <a:chOff x="2623147" y="1393713"/>
                <a:chExt cx="1926939" cy="4143158"/>
              </a:xfrm>
              <a:solidFill>
                <a:srgbClr val="7D7D7D"/>
              </a:solidFill>
            </p:grpSpPr>
            <p:sp>
              <p:nvSpPr>
                <p:cNvPr id="120" name="Abgerundetes Rechteck 241">
                  <a:extLst>
                    <a:ext uri="{FF2B5EF4-FFF2-40B4-BE49-F238E27FC236}">
                      <a16:creationId xmlns:a16="http://schemas.microsoft.com/office/drawing/2014/main" id="{DDEC69C8-E51A-4BA0-B975-77569475B05C}"/>
                    </a:ext>
                  </a:extLst>
                </p:cNvPr>
                <p:cNvSpPr/>
                <p:nvPr/>
              </p:nvSpPr>
              <p:spPr>
                <a:xfrm rot="13586498">
                  <a:off x="3299701" y="3032258"/>
                  <a:ext cx="1505144" cy="244492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21" name="Abgerundetes Rechteck 242">
                  <a:extLst>
                    <a:ext uri="{FF2B5EF4-FFF2-40B4-BE49-F238E27FC236}">
                      <a16:creationId xmlns:a16="http://schemas.microsoft.com/office/drawing/2014/main" id="{A7B5061D-1795-441A-87B7-F29CBC11E657}"/>
                    </a:ext>
                  </a:extLst>
                </p:cNvPr>
                <p:cNvSpPr/>
                <p:nvPr/>
              </p:nvSpPr>
              <p:spPr>
                <a:xfrm rot="18159370">
                  <a:off x="2190648" y="4297516"/>
                  <a:ext cx="2078661" cy="400050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22" name="Abgerundetes Rechteck 243">
                  <a:extLst>
                    <a:ext uri="{FF2B5EF4-FFF2-40B4-BE49-F238E27FC236}">
                      <a16:creationId xmlns:a16="http://schemas.microsoft.com/office/drawing/2014/main" id="{A9C49CFD-08A2-47AA-886B-9AEACC0D6570}"/>
                    </a:ext>
                  </a:extLst>
                </p:cNvPr>
                <p:cNvSpPr/>
                <p:nvPr/>
              </p:nvSpPr>
              <p:spPr>
                <a:xfrm rot="16200000">
                  <a:off x="2605082" y="2788076"/>
                  <a:ext cx="2078661" cy="793376"/>
                </a:xfrm>
                <a:prstGeom prst="roundRect">
                  <a:avLst>
                    <a:gd name="adj" fmla="val 45238"/>
                  </a:avLst>
                </a:prstGeom>
                <a:grpFill/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23" name="Abgerundetes Rechteck 244">
                  <a:extLst>
                    <a:ext uri="{FF2B5EF4-FFF2-40B4-BE49-F238E27FC236}">
                      <a16:creationId xmlns:a16="http://schemas.microsoft.com/office/drawing/2014/main" id="{B3373367-E2E5-4078-8049-60C4C172A530}"/>
                    </a:ext>
                  </a:extLst>
                </p:cNvPr>
                <p:cNvSpPr/>
                <p:nvPr/>
              </p:nvSpPr>
              <p:spPr>
                <a:xfrm rot="13947735">
                  <a:off x="3396267" y="4024071"/>
                  <a:ext cx="1243503" cy="400050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24" name="Abgerundetes Rechteck 245">
                  <a:extLst>
                    <a:ext uri="{FF2B5EF4-FFF2-40B4-BE49-F238E27FC236}">
                      <a16:creationId xmlns:a16="http://schemas.microsoft.com/office/drawing/2014/main" id="{6E2428FD-CF46-470A-BA07-419B75164726}"/>
                    </a:ext>
                  </a:extLst>
                </p:cNvPr>
                <p:cNvSpPr/>
                <p:nvPr/>
              </p:nvSpPr>
              <p:spPr>
                <a:xfrm rot="15490463">
                  <a:off x="3806964" y="4743828"/>
                  <a:ext cx="1106660" cy="379585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25" name="Ellipse 124">
                  <a:extLst>
                    <a:ext uri="{FF2B5EF4-FFF2-40B4-BE49-F238E27FC236}">
                      <a16:creationId xmlns:a16="http://schemas.microsoft.com/office/drawing/2014/main" id="{7DBC704E-71B0-41BD-AF99-90B1D5EF63F9}"/>
                    </a:ext>
                  </a:extLst>
                </p:cNvPr>
                <p:cNvSpPr/>
                <p:nvPr/>
              </p:nvSpPr>
              <p:spPr>
                <a:xfrm>
                  <a:off x="3423525" y="1393713"/>
                  <a:ext cx="689602" cy="6912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26" name="Abgerundetes Rechteck 247">
                  <a:extLst>
                    <a:ext uri="{FF2B5EF4-FFF2-40B4-BE49-F238E27FC236}">
                      <a16:creationId xmlns:a16="http://schemas.microsoft.com/office/drawing/2014/main" id="{6BB73246-2461-41D3-871C-2DB44F453FBE}"/>
                    </a:ext>
                  </a:extLst>
                </p:cNvPr>
                <p:cNvSpPr/>
                <p:nvPr/>
              </p:nvSpPr>
              <p:spPr>
                <a:xfrm rot="8753946">
                  <a:off x="2707572" y="2568703"/>
                  <a:ext cx="948294" cy="244492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27" name="Abgerundetes Rechteck 248">
                  <a:extLst>
                    <a:ext uri="{FF2B5EF4-FFF2-40B4-BE49-F238E27FC236}">
                      <a16:creationId xmlns:a16="http://schemas.microsoft.com/office/drawing/2014/main" id="{5D586546-E498-43FD-9C29-4C27F6F54819}"/>
                    </a:ext>
                  </a:extLst>
                </p:cNvPr>
                <p:cNvSpPr/>
                <p:nvPr/>
              </p:nvSpPr>
              <p:spPr>
                <a:xfrm rot="6512919">
                  <a:off x="2279225" y="3136163"/>
                  <a:ext cx="932336" cy="244492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</p:grpSp>
          <p:grpSp>
            <p:nvGrpSpPr>
              <p:cNvPr id="109" name="Gruppieren 108">
                <a:extLst>
                  <a:ext uri="{FF2B5EF4-FFF2-40B4-BE49-F238E27FC236}">
                    <a16:creationId xmlns:a16="http://schemas.microsoft.com/office/drawing/2014/main" id="{BD7EC38B-CF1C-412F-8BB0-0363B87AC10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0725284" y="2961439"/>
                <a:ext cx="172428" cy="172582"/>
                <a:chOff x="527997" y="2834137"/>
                <a:chExt cx="1014294" cy="1015200"/>
              </a:xfrm>
              <a:solidFill>
                <a:srgbClr val="7D7D7D"/>
              </a:solidFill>
            </p:grpSpPr>
            <p:grpSp>
              <p:nvGrpSpPr>
                <p:cNvPr id="110" name="Gruppieren 109">
                  <a:extLst>
                    <a:ext uri="{FF2B5EF4-FFF2-40B4-BE49-F238E27FC236}">
                      <a16:creationId xmlns:a16="http://schemas.microsoft.com/office/drawing/2014/main" id="{02D20282-C333-41B4-B5E4-EF4EF56CE6C0}"/>
                    </a:ext>
                  </a:extLst>
                </p:cNvPr>
                <p:cNvGrpSpPr/>
                <p:nvPr/>
              </p:nvGrpSpPr>
              <p:grpSpPr>
                <a:xfrm>
                  <a:off x="527997" y="2834137"/>
                  <a:ext cx="1014294" cy="1015200"/>
                  <a:chOff x="7482838" y="4551044"/>
                  <a:chExt cx="733425" cy="777932"/>
                </a:xfrm>
                <a:grpFill/>
              </p:grpSpPr>
              <p:grpSp>
                <p:nvGrpSpPr>
                  <p:cNvPr id="115" name="Gruppieren 114">
                    <a:extLst>
                      <a:ext uri="{FF2B5EF4-FFF2-40B4-BE49-F238E27FC236}">
                        <a16:creationId xmlns:a16="http://schemas.microsoft.com/office/drawing/2014/main" id="{9CB654EA-AF57-4A3A-B3FB-F23EE55E9264}"/>
                      </a:ext>
                    </a:extLst>
                  </p:cNvPr>
                  <p:cNvGrpSpPr/>
                  <p:nvPr/>
                </p:nvGrpSpPr>
                <p:grpSpPr>
                  <a:xfrm>
                    <a:off x="7482838" y="4551044"/>
                    <a:ext cx="733425" cy="777932"/>
                    <a:chOff x="7278255" y="4462289"/>
                    <a:chExt cx="960870" cy="1031675"/>
                  </a:xfrm>
                  <a:grpFill/>
                </p:grpSpPr>
                <p:sp>
                  <p:nvSpPr>
                    <p:cNvPr id="117" name="Rad 46">
                      <a:extLst>
                        <a:ext uri="{FF2B5EF4-FFF2-40B4-BE49-F238E27FC236}">
                          <a16:creationId xmlns:a16="http://schemas.microsoft.com/office/drawing/2014/main" id="{0BF7FF37-DE9B-4345-B17A-D6C881F455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8255" y="4462289"/>
                      <a:ext cx="960870" cy="1031675"/>
                    </a:xfrm>
                    <a:prstGeom prst="donut">
                      <a:avLst>
                        <a:gd name="adj" fmla="val 8851"/>
                      </a:avLst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14400" fontAlgn="base">
                        <a:lnSpc>
                          <a:spcPct val="11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bg-BG" dirty="0">
                        <a:solidFill>
                          <a:prstClr val="black"/>
                        </a:solidFill>
                        <a:latin typeface="+mj-lt"/>
                      </a:endParaRPr>
                    </a:p>
                  </p:txBody>
                </p:sp>
                <p:cxnSp>
                  <p:nvCxnSpPr>
                    <p:cNvPr id="118" name="Gerade Verbindung mit Pfeil 117">
                      <a:extLst>
                        <a:ext uri="{FF2B5EF4-FFF2-40B4-BE49-F238E27FC236}">
                          <a16:creationId xmlns:a16="http://schemas.microsoft.com/office/drawing/2014/main" id="{9E951A85-DD47-43B2-B621-8FDB4049D622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7747508" y="4968875"/>
                      <a:ext cx="287533" cy="0"/>
                    </a:xfrm>
                    <a:prstGeom prst="straightConnector1">
                      <a:avLst/>
                    </a:prstGeom>
                    <a:grpFill/>
                    <a:ln w="12700">
                      <a:headEnd type="none" w="med" len="med"/>
                      <a:tailEnd type="none" w="med" len="med"/>
                    </a:ln>
                  </p:spPr>
                  <p:style>
                    <a:lnRef idx="3">
                      <a:schemeClr val="dk1"/>
                    </a:lnRef>
                    <a:fillRef idx="0">
                      <a:schemeClr val="dk1"/>
                    </a:fillRef>
                    <a:effectRef idx="2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9" name="Gerade Verbindung mit Pfeil 118">
                      <a:extLst>
                        <a:ext uri="{FF2B5EF4-FFF2-40B4-BE49-F238E27FC236}">
                          <a16:creationId xmlns:a16="http://schemas.microsoft.com/office/drawing/2014/main" id="{92C2C796-8F2E-4FAC-8BC7-726B863875D9}"/>
                        </a:ext>
                      </a:extLst>
                    </p:cNvPr>
                    <p:cNvCxnSpPr/>
                    <p:nvPr/>
                  </p:nvCxnSpPr>
                  <p:spPr>
                    <a:xfrm flipH="1" flipV="1">
                      <a:off x="7567879" y="4650024"/>
                      <a:ext cx="204079" cy="322806"/>
                    </a:xfrm>
                    <a:prstGeom prst="straightConnector1">
                      <a:avLst/>
                    </a:prstGeom>
                    <a:grpFill/>
                    <a:ln w="12700">
                      <a:headEnd type="none" w="med" len="med"/>
                      <a:tailEnd type="none" w="med" len="med"/>
                    </a:ln>
                  </p:spPr>
                  <p:style>
                    <a:lnRef idx="3">
                      <a:schemeClr val="dk1"/>
                    </a:lnRef>
                    <a:fillRef idx="0">
                      <a:schemeClr val="dk1"/>
                    </a:fillRef>
                    <a:effectRef idx="2">
                      <a:schemeClr val="dk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116" name="Flussdiagramm: Verbinder 115">
                    <a:extLst>
                      <a:ext uri="{FF2B5EF4-FFF2-40B4-BE49-F238E27FC236}">
                        <a16:creationId xmlns:a16="http://schemas.microsoft.com/office/drawing/2014/main" id="{596911D3-60F3-4672-B5AD-223DEC7F9E57}"/>
                      </a:ext>
                    </a:extLst>
                  </p:cNvPr>
                  <p:cNvSpPr/>
                  <p:nvPr/>
                </p:nvSpPr>
                <p:spPr>
                  <a:xfrm>
                    <a:off x="7826690" y="4911393"/>
                    <a:ext cx="45719" cy="47625"/>
                  </a:xfrm>
                  <a:prstGeom prst="flowChartConnector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14400" fontAlgn="base">
                      <a:lnSpc>
                        <a:spcPct val="114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bg-BG" dirty="0">
                      <a:solidFill>
                        <a:prstClr val="white"/>
                      </a:solidFill>
                      <a:latin typeface="+mj-lt"/>
                    </a:endParaRPr>
                  </a:p>
                </p:txBody>
              </p:sp>
            </p:grpSp>
            <p:cxnSp>
              <p:nvCxnSpPr>
                <p:cNvPr id="111" name="Gerader Verbinder 110">
                  <a:extLst>
                    <a:ext uri="{FF2B5EF4-FFF2-40B4-BE49-F238E27FC236}">
                      <a16:creationId xmlns:a16="http://schemas.microsoft.com/office/drawing/2014/main" id="{2F849B99-DCA9-4038-8C45-81AECC398136}"/>
                    </a:ext>
                  </a:extLst>
                </p:cNvPr>
                <p:cNvCxnSpPr/>
                <p:nvPr/>
              </p:nvCxnSpPr>
              <p:spPr>
                <a:xfrm>
                  <a:off x="1035142" y="3681768"/>
                  <a:ext cx="2" cy="152191"/>
                </a:xfrm>
                <a:prstGeom prst="line">
                  <a:avLst/>
                </a:prstGeom>
                <a:grpFill/>
                <a:ln>
                  <a:solidFill>
                    <a:srgbClr val="00284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Gerader Verbinder 111">
                  <a:extLst>
                    <a:ext uri="{FF2B5EF4-FFF2-40B4-BE49-F238E27FC236}">
                      <a16:creationId xmlns:a16="http://schemas.microsoft.com/office/drawing/2014/main" id="{3B701CB0-75BB-41E5-9251-C9D7456A0D62}"/>
                    </a:ext>
                  </a:extLst>
                </p:cNvPr>
                <p:cNvCxnSpPr/>
                <p:nvPr/>
              </p:nvCxnSpPr>
              <p:spPr>
                <a:xfrm>
                  <a:off x="1038340" y="2852678"/>
                  <a:ext cx="2" cy="152191"/>
                </a:xfrm>
                <a:prstGeom prst="line">
                  <a:avLst/>
                </a:prstGeom>
                <a:grpFill/>
                <a:ln>
                  <a:solidFill>
                    <a:srgbClr val="00284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Gerader Verbinder 112">
                  <a:extLst>
                    <a:ext uri="{FF2B5EF4-FFF2-40B4-BE49-F238E27FC236}">
                      <a16:creationId xmlns:a16="http://schemas.microsoft.com/office/drawing/2014/main" id="{8388F352-D86E-419D-9908-65AA44E4C5AD}"/>
                    </a:ext>
                  </a:extLst>
                </p:cNvPr>
                <p:cNvCxnSpPr/>
                <p:nvPr/>
              </p:nvCxnSpPr>
              <p:spPr>
                <a:xfrm flipH="1">
                  <a:off x="545459" y="3341737"/>
                  <a:ext cx="151200" cy="0"/>
                </a:xfrm>
                <a:prstGeom prst="line">
                  <a:avLst/>
                </a:prstGeom>
                <a:grpFill/>
                <a:ln>
                  <a:solidFill>
                    <a:srgbClr val="00284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Gerader Verbinder 113">
                  <a:extLst>
                    <a:ext uri="{FF2B5EF4-FFF2-40B4-BE49-F238E27FC236}">
                      <a16:creationId xmlns:a16="http://schemas.microsoft.com/office/drawing/2014/main" id="{0E47DF71-DF12-4649-A2AD-24ADE38DA5AE}"/>
                    </a:ext>
                  </a:extLst>
                </p:cNvPr>
                <p:cNvCxnSpPr/>
                <p:nvPr/>
              </p:nvCxnSpPr>
              <p:spPr>
                <a:xfrm flipH="1">
                  <a:off x="1368866" y="3332633"/>
                  <a:ext cx="151200" cy="0"/>
                </a:xfrm>
                <a:prstGeom prst="line">
                  <a:avLst/>
                </a:prstGeom>
                <a:grpFill/>
                <a:ln>
                  <a:solidFill>
                    <a:srgbClr val="00284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28" name="Gruppieren 127">
              <a:extLst>
                <a:ext uri="{FF2B5EF4-FFF2-40B4-BE49-F238E27FC236}">
                  <a16:creationId xmlns:a16="http://schemas.microsoft.com/office/drawing/2014/main" id="{5D9F45EB-780A-4676-B111-4EDA82E077D1}"/>
                </a:ext>
              </a:extLst>
            </p:cNvPr>
            <p:cNvGrpSpPr/>
            <p:nvPr/>
          </p:nvGrpSpPr>
          <p:grpSpPr>
            <a:xfrm>
              <a:off x="10091650" y="5518380"/>
              <a:ext cx="251124" cy="284186"/>
              <a:chOff x="10725284" y="2961439"/>
              <a:chExt cx="251124" cy="284186"/>
            </a:xfrm>
          </p:grpSpPr>
          <p:grpSp>
            <p:nvGrpSpPr>
              <p:cNvPr id="129" name="Gruppieren 128">
                <a:extLst>
                  <a:ext uri="{FF2B5EF4-FFF2-40B4-BE49-F238E27FC236}">
                    <a16:creationId xmlns:a16="http://schemas.microsoft.com/office/drawing/2014/main" id="{21BEF47A-415A-4481-B807-C83C8FA7FF0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0893934" y="3068299"/>
                <a:ext cx="82474" cy="177326"/>
                <a:chOff x="2623147" y="1393713"/>
                <a:chExt cx="1926939" cy="4143158"/>
              </a:xfrm>
              <a:solidFill>
                <a:srgbClr val="7D7D7D"/>
              </a:solidFill>
            </p:grpSpPr>
            <p:sp>
              <p:nvSpPr>
                <p:cNvPr id="141" name="Abgerundetes Rechteck 241">
                  <a:extLst>
                    <a:ext uri="{FF2B5EF4-FFF2-40B4-BE49-F238E27FC236}">
                      <a16:creationId xmlns:a16="http://schemas.microsoft.com/office/drawing/2014/main" id="{99627A4C-D64F-4CA3-A3D0-21600F3ECB27}"/>
                    </a:ext>
                  </a:extLst>
                </p:cNvPr>
                <p:cNvSpPr/>
                <p:nvPr/>
              </p:nvSpPr>
              <p:spPr>
                <a:xfrm rot="13586498">
                  <a:off x="3299701" y="3032258"/>
                  <a:ext cx="1505144" cy="244492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42" name="Abgerundetes Rechteck 242">
                  <a:extLst>
                    <a:ext uri="{FF2B5EF4-FFF2-40B4-BE49-F238E27FC236}">
                      <a16:creationId xmlns:a16="http://schemas.microsoft.com/office/drawing/2014/main" id="{5ACB5D70-A8D5-4173-AD18-230C2E83014B}"/>
                    </a:ext>
                  </a:extLst>
                </p:cNvPr>
                <p:cNvSpPr/>
                <p:nvPr/>
              </p:nvSpPr>
              <p:spPr>
                <a:xfrm rot="18159370">
                  <a:off x="2190648" y="4297516"/>
                  <a:ext cx="2078661" cy="400050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43" name="Abgerundetes Rechteck 243">
                  <a:extLst>
                    <a:ext uri="{FF2B5EF4-FFF2-40B4-BE49-F238E27FC236}">
                      <a16:creationId xmlns:a16="http://schemas.microsoft.com/office/drawing/2014/main" id="{D10C5724-C42A-4B46-B20A-352B99B28596}"/>
                    </a:ext>
                  </a:extLst>
                </p:cNvPr>
                <p:cNvSpPr/>
                <p:nvPr/>
              </p:nvSpPr>
              <p:spPr>
                <a:xfrm rot="16200000">
                  <a:off x="2605082" y="2788076"/>
                  <a:ext cx="2078661" cy="793376"/>
                </a:xfrm>
                <a:prstGeom prst="roundRect">
                  <a:avLst>
                    <a:gd name="adj" fmla="val 45238"/>
                  </a:avLst>
                </a:prstGeom>
                <a:grpFill/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44" name="Abgerundetes Rechteck 244">
                  <a:extLst>
                    <a:ext uri="{FF2B5EF4-FFF2-40B4-BE49-F238E27FC236}">
                      <a16:creationId xmlns:a16="http://schemas.microsoft.com/office/drawing/2014/main" id="{06DFF760-060F-4016-9C8C-A060E2A58A6A}"/>
                    </a:ext>
                  </a:extLst>
                </p:cNvPr>
                <p:cNvSpPr/>
                <p:nvPr/>
              </p:nvSpPr>
              <p:spPr>
                <a:xfrm rot="13947735">
                  <a:off x="3396267" y="4024071"/>
                  <a:ext cx="1243503" cy="400050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45" name="Abgerundetes Rechteck 245">
                  <a:extLst>
                    <a:ext uri="{FF2B5EF4-FFF2-40B4-BE49-F238E27FC236}">
                      <a16:creationId xmlns:a16="http://schemas.microsoft.com/office/drawing/2014/main" id="{5DA9266D-6DF0-4F71-B69C-006CAD0AFCD1}"/>
                    </a:ext>
                  </a:extLst>
                </p:cNvPr>
                <p:cNvSpPr/>
                <p:nvPr/>
              </p:nvSpPr>
              <p:spPr>
                <a:xfrm rot="15490463">
                  <a:off x="3806964" y="4743828"/>
                  <a:ext cx="1106660" cy="379585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46" name="Ellipse 145">
                  <a:extLst>
                    <a:ext uri="{FF2B5EF4-FFF2-40B4-BE49-F238E27FC236}">
                      <a16:creationId xmlns:a16="http://schemas.microsoft.com/office/drawing/2014/main" id="{9C19AA30-7605-429E-9CA7-C43208B8E4A1}"/>
                    </a:ext>
                  </a:extLst>
                </p:cNvPr>
                <p:cNvSpPr/>
                <p:nvPr/>
              </p:nvSpPr>
              <p:spPr>
                <a:xfrm>
                  <a:off x="3423525" y="1393713"/>
                  <a:ext cx="689602" cy="6912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47" name="Abgerundetes Rechteck 247">
                  <a:extLst>
                    <a:ext uri="{FF2B5EF4-FFF2-40B4-BE49-F238E27FC236}">
                      <a16:creationId xmlns:a16="http://schemas.microsoft.com/office/drawing/2014/main" id="{AD51C2C3-944B-42EF-86AA-361940928F3A}"/>
                    </a:ext>
                  </a:extLst>
                </p:cNvPr>
                <p:cNvSpPr/>
                <p:nvPr/>
              </p:nvSpPr>
              <p:spPr>
                <a:xfrm rot="8753946">
                  <a:off x="2707572" y="2568703"/>
                  <a:ext cx="948294" cy="244492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148" name="Abgerundetes Rechteck 248">
                  <a:extLst>
                    <a:ext uri="{FF2B5EF4-FFF2-40B4-BE49-F238E27FC236}">
                      <a16:creationId xmlns:a16="http://schemas.microsoft.com/office/drawing/2014/main" id="{9A4C9DCF-1044-4E14-9FA5-35E1D397D239}"/>
                    </a:ext>
                  </a:extLst>
                </p:cNvPr>
                <p:cNvSpPr/>
                <p:nvPr/>
              </p:nvSpPr>
              <p:spPr>
                <a:xfrm rot="6512919">
                  <a:off x="2279225" y="3136163"/>
                  <a:ext cx="932336" cy="244492"/>
                </a:xfrm>
                <a:prstGeom prst="roundRect">
                  <a:avLst>
                    <a:gd name="adj" fmla="val 45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</p:grpSp>
          <p:grpSp>
            <p:nvGrpSpPr>
              <p:cNvPr id="130" name="Gruppieren 129">
                <a:extLst>
                  <a:ext uri="{FF2B5EF4-FFF2-40B4-BE49-F238E27FC236}">
                    <a16:creationId xmlns:a16="http://schemas.microsoft.com/office/drawing/2014/main" id="{7E71A8E3-35E0-478A-A77E-9C2BB6B0154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0725284" y="2961439"/>
                <a:ext cx="172428" cy="172582"/>
                <a:chOff x="527997" y="2834137"/>
                <a:chExt cx="1014294" cy="1015200"/>
              </a:xfrm>
              <a:solidFill>
                <a:srgbClr val="7D7D7D"/>
              </a:solidFill>
            </p:grpSpPr>
            <p:grpSp>
              <p:nvGrpSpPr>
                <p:cNvPr id="131" name="Gruppieren 130">
                  <a:extLst>
                    <a:ext uri="{FF2B5EF4-FFF2-40B4-BE49-F238E27FC236}">
                      <a16:creationId xmlns:a16="http://schemas.microsoft.com/office/drawing/2014/main" id="{8C9AC13E-85E1-4992-B528-DDC2DA3C061C}"/>
                    </a:ext>
                  </a:extLst>
                </p:cNvPr>
                <p:cNvGrpSpPr/>
                <p:nvPr/>
              </p:nvGrpSpPr>
              <p:grpSpPr>
                <a:xfrm>
                  <a:off x="527997" y="2834137"/>
                  <a:ext cx="1014294" cy="1015200"/>
                  <a:chOff x="7482838" y="4551044"/>
                  <a:chExt cx="733425" cy="777932"/>
                </a:xfrm>
                <a:grpFill/>
              </p:grpSpPr>
              <p:grpSp>
                <p:nvGrpSpPr>
                  <p:cNvPr id="136" name="Gruppieren 135">
                    <a:extLst>
                      <a:ext uri="{FF2B5EF4-FFF2-40B4-BE49-F238E27FC236}">
                        <a16:creationId xmlns:a16="http://schemas.microsoft.com/office/drawing/2014/main" id="{B757F2CD-F56B-425D-9544-8A1A66B8EB69}"/>
                      </a:ext>
                    </a:extLst>
                  </p:cNvPr>
                  <p:cNvGrpSpPr/>
                  <p:nvPr/>
                </p:nvGrpSpPr>
                <p:grpSpPr>
                  <a:xfrm>
                    <a:off x="7482838" y="4551044"/>
                    <a:ext cx="733425" cy="777932"/>
                    <a:chOff x="7278255" y="4462289"/>
                    <a:chExt cx="960870" cy="1031675"/>
                  </a:xfrm>
                  <a:grpFill/>
                </p:grpSpPr>
                <p:sp>
                  <p:nvSpPr>
                    <p:cNvPr id="138" name="Rad 46">
                      <a:extLst>
                        <a:ext uri="{FF2B5EF4-FFF2-40B4-BE49-F238E27FC236}">
                          <a16:creationId xmlns:a16="http://schemas.microsoft.com/office/drawing/2014/main" id="{DC691E12-C024-4623-9B0E-0ADE1E7910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8255" y="4462289"/>
                      <a:ext cx="960870" cy="1031675"/>
                    </a:xfrm>
                    <a:prstGeom prst="donut">
                      <a:avLst>
                        <a:gd name="adj" fmla="val 8851"/>
                      </a:avLst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14400" fontAlgn="base">
                        <a:lnSpc>
                          <a:spcPct val="11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bg-BG" dirty="0">
                        <a:solidFill>
                          <a:prstClr val="black"/>
                        </a:solidFill>
                        <a:latin typeface="+mj-lt"/>
                      </a:endParaRPr>
                    </a:p>
                  </p:txBody>
                </p:sp>
                <p:cxnSp>
                  <p:nvCxnSpPr>
                    <p:cNvPr id="139" name="Gerade Verbindung mit Pfeil 138">
                      <a:extLst>
                        <a:ext uri="{FF2B5EF4-FFF2-40B4-BE49-F238E27FC236}">
                          <a16:creationId xmlns:a16="http://schemas.microsoft.com/office/drawing/2014/main" id="{0C5B7CBB-C824-4B2B-9648-EBF2AB97B757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7747508" y="4968875"/>
                      <a:ext cx="287533" cy="0"/>
                    </a:xfrm>
                    <a:prstGeom prst="straightConnector1">
                      <a:avLst/>
                    </a:prstGeom>
                    <a:grpFill/>
                    <a:ln w="12700">
                      <a:headEnd type="none" w="med" len="med"/>
                      <a:tailEnd type="none" w="med" len="med"/>
                    </a:ln>
                  </p:spPr>
                  <p:style>
                    <a:lnRef idx="3">
                      <a:schemeClr val="dk1"/>
                    </a:lnRef>
                    <a:fillRef idx="0">
                      <a:schemeClr val="dk1"/>
                    </a:fillRef>
                    <a:effectRef idx="2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40" name="Gerade Verbindung mit Pfeil 139">
                      <a:extLst>
                        <a:ext uri="{FF2B5EF4-FFF2-40B4-BE49-F238E27FC236}">
                          <a16:creationId xmlns:a16="http://schemas.microsoft.com/office/drawing/2014/main" id="{FD1E66A1-B757-47CD-8B81-387619C085DE}"/>
                        </a:ext>
                      </a:extLst>
                    </p:cNvPr>
                    <p:cNvCxnSpPr/>
                    <p:nvPr/>
                  </p:nvCxnSpPr>
                  <p:spPr>
                    <a:xfrm flipH="1" flipV="1">
                      <a:off x="7567879" y="4650024"/>
                      <a:ext cx="204079" cy="322806"/>
                    </a:xfrm>
                    <a:prstGeom prst="straightConnector1">
                      <a:avLst/>
                    </a:prstGeom>
                    <a:grpFill/>
                    <a:ln w="12700">
                      <a:headEnd type="none" w="med" len="med"/>
                      <a:tailEnd type="none" w="med" len="med"/>
                    </a:ln>
                  </p:spPr>
                  <p:style>
                    <a:lnRef idx="3">
                      <a:schemeClr val="dk1"/>
                    </a:lnRef>
                    <a:fillRef idx="0">
                      <a:schemeClr val="dk1"/>
                    </a:fillRef>
                    <a:effectRef idx="2">
                      <a:schemeClr val="dk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137" name="Flussdiagramm: Verbinder 136">
                    <a:extLst>
                      <a:ext uri="{FF2B5EF4-FFF2-40B4-BE49-F238E27FC236}">
                        <a16:creationId xmlns:a16="http://schemas.microsoft.com/office/drawing/2014/main" id="{52449D0F-E461-4828-AAF8-E239EF177DF8}"/>
                      </a:ext>
                    </a:extLst>
                  </p:cNvPr>
                  <p:cNvSpPr/>
                  <p:nvPr/>
                </p:nvSpPr>
                <p:spPr>
                  <a:xfrm>
                    <a:off x="7826690" y="4911393"/>
                    <a:ext cx="45719" cy="47625"/>
                  </a:xfrm>
                  <a:prstGeom prst="flowChartConnector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14400" fontAlgn="base">
                      <a:lnSpc>
                        <a:spcPct val="114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bg-BG" dirty="0">
                      <a:solidFill>
                        <a:prstClr val="white"/>
                      </a:solidFill>
                      <a:latin typeface="+mj-lt"/>
                    </a:endParaRPr>
                  </a:p>
                </p:txBody>
              </p:sp>
            </p:grpSp>
            <p:cxnSp>
              <p:nvCxnSpPr>
                <p:cNvPr id="132" name="Gerader Verbinder 131">
                  <a:extLst>
                    <a:ext uri="{FF2B5EF4-FFF2-40B4-BE49-F238E27FC236}">
                      <a16:creationId xmlns:a16="http://schemas.microsoft.com/office/drawing/2014/main" id="{43FA26B0-FBD5-4EEE-9B86-0BEB52BBF63C}"/>
                    </a:ext>
                  </a:extLst>
                </p:cNvPr>
                <p:cNvCxnSpPr/>
                <p:nvPr/>
              </p:nvCxnSpPr>
              <p:spPr>
                <a:xfrm>
                  <a:off x="1035142" y="3681768"/>
                  <a:ext cx="2" cy="152191"/>
                </a:xfrm>
                <a:prstGeom prst="line">
                  <a:avLst/>
                </a:prstGeom>
                <a:grpFill/>
                <a:ln>
                  <a:solidFill>
                    <a:srgbClr val="00284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Gerader Verbinder 132">
                  <a:extLst>
                    <a:ext uri="{FF2B5EF4-FFF2-40B4-BE49-F238E27FC236}">
                      <a16:creationId xmlns:a16="http://schemas.microsoft.com/office/drawing/2014/main" id="{802DF509-F486-495A-8A54-E92C053BAEFB}"/>
                    </a:ext>
                  </a:extLst>
                </p:cNvPr>
                <p:cNvCxnSpPr/>
                <p:nvPr/>
              </p:nvCxnSpPr>
              <p:spPr>
                <a:xfrm>
                  <a:off x="1038340" y="2852678"/>
                  <a:ext cx="2" cy="152191"/>
                </a:xfrm>
                <a:prstGeom prst="line">
                  <a:avLst/>
                </a:prstGeom>
                <a:grpFill/>
                <a:ln>
                  <a:solidFill>
                    <a:srgbClr val="00284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Gerader Verbinder 133">
                  <a:extLst>
                    <a:ext uri="{FF2B5EF4-FFF2-40B4-BE49-F238E27FC236}">
                      <a16:creationId xmlns:a16="http://schemas.microsoft.com/office/drawing/2014/main" id="{BFB09A3F-54EF-44E9-83E3-D0FB3A04C02B}"/>
                    </a:ext>
                  </a:extLst>
                </p:cNvPr>
                <p:cNvCxnSpPr/>
                <p:nvPr/>
              </p:nvCxnSpPr>
              <p:spPr>
                <a:xfrm flipH="1">
                  <a:off x="545459" y="3341737"/>
                  <a:ext cx="151200" cy="0"/>
                </a:xfrm>
                <a:prstGeom prst="line">
                  <a:avLst/>
                </a:prstGeom>
                <a:grpFill/>
                <a:ln>
                  <a:solidFill>
                    <a:srgbClr val="00284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Gerader Verbinder 134">
                  <a:extLst>
                    <a:ext uri="{FF2B5EF4-FFF2-40B4-BE49-F238E27FC236}">
                      <a16:creationId xmlns:a16="http://schemas.microsoft.com/office/drawing/2014/main" id="{E21D4D63-8902-4161-8CBD-434B7A1D4C40}"/>
                    </a:ext>
                  </a:extLst>
                </p:cNvPr>
                <p:cNvCxnSpPr/>
                <p:nvPr/>
              </p:nvCxnSpPr>
              <p:spPr>
                <a:xfrm flipH="1">
                  <a:off x="1368866" y="3332633"/>
                  <a:ext cx="151200" cy="0"/>
                </a:xfrm>
                <a:prstGeom prst="line">
                  <a:avLst/>
                </a:prstGeom>
                <a:grpFill/>
                <a:ln>
                  <a:solidFill>
                    <a:srgbClr val="00284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4DAD47AC-0E42-49E9-8AD4-2FDE47E8E546}"/>
              </a:ext>
            </a:extLst>
          </p:cNvPr>
          <p:cNvSpPr/>
          <p:nvPr/>
        </p:nvSpPr>
        <p:spPr>
          <a:xfrm flipH="1">
            <a:off x="4726775" y="4793044"/>
            <a:ext cx="403882" cy="363816"/>
          </a:xfrm>
          <a:prstGeom prst="rightArrow">
            <a:avLst/>
          </a:prstGeom>
          <a:solidFill>
            <a:srgbClr val="51515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69197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tistische Auswertung verschiedener Zufallsverteilungen</a:t>
            </a:r>
          </a:p>
        </p:txBody>
      </p:sp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3E22EC5C-AF74-49CE-875C-C34E67ADD2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6422663"/>
              </p:ext>
            </p:extLst>
          </p:nvPr>
        </p:nvGraphicFramePr>
        <p:xfrm>
          <a:off x="2500710" y="2182430"/>
          <a:ext cx="7190581" cy="3072830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1000390">
                  <a:extLst>
                    <a:ext uri="{9D8B030D-6E8A-4147-A177-3AD203B41FA5}">
                      <a16:colId xmlns:a16="http://schemas.microsoft.com/office/drawing/2014/main" val="3269803884"/>
                    </a:ext>
                  </a:extLst>
                </a:gridCol>
                <a:gridCol w="2387113">
                  <a:extLst>
                    <a:ext uri="{9D8B030D-6E8A-4147-A177-3AD203B41FA5}">
                      <a16:colId xmlns:a16="http://schemas.microsoft.com/office/drawing/2014/main" val="2056924221"/>
                    </a:ext>
                  </a:extLst>
                </a:gridCol>
                <a:gridCol w="1129759">
                  <a:extLst>
                    <a:ext uri="{9D8B030D-6E8A-4147-A177-3AD203B41FA5}">
                      <a16:colId xmlns:a16="http://schemas.microsoft.com/office/drawing/2014/main" val="242301828"/>
                    </a:ext>
                  </a:extLst>
                </a:gridCol>
                <a:gridCol w="1674701">
                  <a:extLst>
                    <a:ext uri="{9D8B030D-6E8A-4147-A177-3AD203B41FA5}">
                      <a16:colId xmlns:a16="http://schemas.microsoft.com/office/drawing/2014/main" val="2804869080"/>
                    </a:ext>
                  </a:extLst>
                </a:gridCol>
                <a:gridCol w="998618">
                  <a:extLst>
                    <a:ext uri="{9D8B030D-6E8A-4147-A177-3AD203B41FA5}">
                      <a16:colId xmlns:a16="http://schemas.microsoft.com/office/drawing/2014/main" val="2357843748"/>
                    </a:ext>
                  </a:extLst>
                </a:gridCol>
              </a:tblGrid>
              <a:tr h="487750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Variante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Wertebereich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 dirty="0">
                          <a:effectLst/>
                        </a:rPr>
                        <a:t>Mittelwert</a:t>
                      </a:r>
                      <a:endParaRPr lang="de-DE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Standardabweichung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Median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78026527"/>
                  </a:ext>
                </a:extLst>
              </a:tr>
              <a:tr h="362191">
                <a:tc gridSpan="5"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 dirty="0">
                          <a:effectLst/>
                        </a:rPr>
                        <a:t>Ergebnisvariable: maximale Auslastung des Transformators</a:t>
                      </a:r>
                      <a:endParaRPr lang="de-DE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6739704"/>
                  </a:ext>
                </a:extLst>
              </a:tr>
              <a:tr h="284079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 dirty="0">
                          <a:effectLst/>
                        </a:rPr>
                        <a:t>Fall 1</a:t>
                      </a:r>
                      <a:endParaRPr lang="de-DE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 dirty="0">
                          <a:effectLst/>
                        </a:rPr>
                        <a:t>42,3 – 111,0 % (Delta 68,7 %)</a:t>
                      </a:r>
                      <a:endParaRPr lang="de-DE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62,2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13,3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58,5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31855808"/>
                  </a:ext>
                </a:extLst>
              </a:tr>
              <a:tr h="284079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 dirty="0">
                          <a:effectLst/>
                        </a:rPr>
                        <a:t>Fall 2</a:t>
                      </a:r>
                      <a:endParaRPr lang="de-DE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45,1 – 61,6 % (Delta 16,5 %)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51,6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2,6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51,3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95479416"/>
                  </a:ext>
                </a:extLst>
              </a:tr>
              <a:tr h="284079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 dirty="0">
                          <a:effectLst/>
                        </a:rPr>
                        <a:t>Fall 3</a:t>
                      </a:r>
                      <a:endParaRPr lang="de-DE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45,6 – 64,7 % (Delta 19,1 %)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51,5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2,7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51,4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154932738"/>
                  </a:ext>
                </a:extLst>
              </a:tr>
              <a:tr h="284079">
                <a:tc gridSpan="5"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 dirty="0">
                          <a:effectLst/>
                        </a:rPr>
                        <a:t>Ergebnisvariable: minimale Spannung aller Hausanschlüsse bzgl. Nennspannung</a:t>
                      </a:r>
                      <a:endParaRPr lang="de-DE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4761294"/>
                  </a:ext>
                </a:extLst>
              </a:tr>
              <a:tr h="362191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 dirty="0">
                          <a:effectLst/>
                        </a:rPr>
                        <a:t>Fall 1</a:t>
                      </a:r>
                      <a:endParaRPr lang="de-DE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82,1 – 96,2 % (Delta 14,1 %)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93,4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2,4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94,1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68291492"/>
                  </a:ext>
                </a:extLst>
              </a:tr>
              <a:tr h="362191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 dirty="0">
                          <a:effectLst/>
                        </a:rPr>
                        <a:t>Fall 2</a:t>
                      </a:r>
                      <a:endParaRPr lang="de-DE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92,3 – 95,5 % (Delta 3,2 %)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94,0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0,6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94,1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8330356"/>
                  </a:ext>
                </a:extLst>
              </a:tr>
              <a:tr h="362191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 dirty="0">
                          <a:effectLst/>
                        </a:rPr>
                        <a:t>Fall 3</a:t>
                      </a:r>
                      <a:endParaRPr lang="de-DE" sz="9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93,5 – 95,5 % (Delta 2,0 %)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94,7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>
                          <a:effectLst/>
                        </a:rPr>
                        <a:t>0,4 %</a:t>
                      </a:r>
                      <a:endParaRPr lang="de-DE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600"/>
                        </a:spcAft>
                      </a:pPr>
                      <a:r>
                        <a:rPr lang="de-DE" sz="900" dirty="0">
                          <a:effectLst/>
                        </a:rPr>
                        <a:t>94,8 %</a:t>
                      </a:r>
                      <a:endParaRPr lang="de-DE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713912767"/>
                  </a:ext>
                </a:extLst>
              </a:tr>
            </a:tbl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24E5107D-A2FD-4366-A403-C2CA3F9AC3A0}"/>
              </a:ext>
            </a:extLst>
          </p:cNvPr>
          <p:cNvSpPr/>
          <p:nvPr/>
        </p:nvSpPr>
        <p:spPr>
          <a:xfrm>
            <a:off x="2500710" y="3887470"/>
            <a:ext cx="7190581" cy="13677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BE4B0044-C517-4809-A031-68B78C7247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844675"/>
            <a:ext cx="10447861" cy="378965"/>
          </a:xfrm>
        </p:spPr>
        <p:txBody>
          <a:bodyPr/>
          <a:lstStyle/>
          <a:p>
            <a:pPr marL="0" indent="0">
              <a:buNone/>
            </a:pPr>
            <a:r>
              <a:rPr lang="de-DE" sz="1400" dirty="0"/>
              <a:t>Statistische Auswertung von jeweils 200 Varianten der zufallsbedingten Verteilung von Komponenten und Attributen:</a:t>
            </a:r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r>
              <a:rPr lang="de-DE" sz="1400" dirty="0"/>
              <a:t>Wie viele Simulation verschiedener Verteilungen sind für bestimmte Genauigkeit notwendig?</a:t>
            </a:r>
          </a:p>
          <a:p>
            <a:pPr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+mn-cs"/>
              </a:rPr>
              <a:t>Zufallsexperiment</a:t>
            </a:r>
            <a:r>
              <a:rPr kumimoji="0" lang="de-DE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+mn-cs"/>
              </a:rPr>
              <a:t> zum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+mn-cs"/>
              </a:rPr>
              <a:t>Ableitung der Streuung von Netzbelastungskenngrößen</a:t>
            </a:r>
          </a:p>
          <a:p>
            <a:pPr>
              <a:defRPr/>
            </a:pPr>
            <a:r>
              <a:rPr lang="de-DE" sz="1400" dirty="0">
                <a:solidFill>
                  <a:prstClr val="black"/>
                </a:solidFill>
              </a:rPr>
              <a:t>Jeweils 1.000.000-faches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+mn-cs"/>
              </a:rPr>
              <a:t>Ziehen von „k“ Verteilungen (1</a:t>
            </a:r>
            <a:r>
              <a:rPr kumimoji="0" lang="de-DE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+mn-cs"/>
              </a:rPr>
              <a:t> bis 50)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+mn-cs"/>
              </a:rPr>
              <a:t>aus 200 Ergebniswerten (Ziehen ohne Zurücklegen „k“ aus „N“)</a:t>
            </a:r>
          </a:p>
          <a:p>
            <a:pPr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+mn-cs"/>
              </a:rPr>
              <a:t>Statistische Auswertung der 1.000.000 Ergebnisvariablen</a:t>
            </a:r>
            <a:r>
              <a:rPr kumimoji="0" lang="de-DE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+mn-cs"/>
              </a:rPr>
              <a:t>für jede Verteilung „k“</a:t>
            </a:r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68633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66763" y="5159375"/>
            <a:ext cx="10433185" cy="1135896"/>
          </a:xfrm>
        </p:spPr>
        <p:txBody>
          <a:bodyPr/>
          <a:lstStyle/>
          <a:p>
            <a:r>
              <a:rPr lang="de-DE" sz="1400" dirty="0"/>
              <a:t>Ergebnisvariable ist bei gleichbleibender Anzahl der Komponenten unabhängig von deren Positionierung (Fälle 2 und 3 weisen nahezu gleiche Streuung auf)</a:t>
            </a:r>
          </a:p>
          <a:p>
            <a:r>
              <a:rPr lang="de-DE" sz="1400" dirty="0"/>
              <a:t>Konkret bedeutet dies für z. B. Projekt „Me“, dass durch Simulation von 50 Verteilungen im Fall 1 die max. Transformatorauslastung zu 99.8 % Wahrscheinlichkeit im Bereich von ca. 58 – 66% liegt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periment zur Quantifizierung notwendiger Zufallsverteilungen</a:t>
            </a:r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BC488BA9-F1FE-448C-A137-B13A5CB359E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66763" y="6407378"/>
            <a:ext cx="10447861" cy="378965"/>
          </a:xfrm>
        </p:spPr>
        <p:txBody>
          <a:bodyPr/>
          <a:lstStyle/>
          <a:p>
            <a:pPr>
              <a:buFont typeface="Arial" panose="020B0604020202020204" pitchFamily="34" charset="0"/>
              <a:buNone/>
            </a:pPr>
            <a:endParaRPr lang="de-DE" dirty="0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560FC6E1-F6BE-4A55-A15C-DB4D9932ED25}"/>
              </a:ext>
            </a:extLst>
          </p:cNvPr>
          <p:cNvGrpSpPr/>
          <p:nvPr/>
        </p:nvGrpSpPr>
        <p:grpSpPr>
          <a:xfrm>
            <a:off x="879408" y="1334010"/>
            <a:ext cx="10433185" cy="3469942"/>
            <a:chOff x="964315" y="2890148"/>
            <a:chExt cx="10433185" cy="3469942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4DC5CAB7-4A58-4023-9B1E-AAFD4A99E7A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0756" y="3439229"/>
              <a:ext cx="2963968" cy="2920861"/>
            </a:xfrm>
            <a:prstGeom prst="rect">
              <a:avLst/>
            </a:prstGeom>
          </p:spPr>
        </p:pic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A9485E90-07AB-4FC7-903D-A8BD5280328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3833" y="3439229"/>
              <a:ext cx="2794151" cy="2920861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564A08E-952C-48A3-82B6-5868E1D212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07093" y="3439229"/>
              <a:ext cx="2794151" cy="2920861"/>
            </a:xfrm>
            <a:prstGeom prst="rect">
              <a:avLst/>
            </a:prstGeom>
          </p:spPr>
        </p:pic>
        <p:sp>
          <p:nvSpPr>
            <p:cNvPr id="25" name="Textplatzhalter 6">
              <a:extLst>
                <a:ext uri="{FF2B5EF4-FFF2-40B4-BE49-F238E27FC236}">
                  <a16:creationId xmlns:a16="http://schemas.microsoft.com/office/drawing/2014/main" id="{42CABE61-D897-4ABC-B17A-2BB950F3CA32}"/>
                </a:ext>
              </a:extLst>
            </p:cNvPr>
            <p:cNvSpPr txBox="1">
              <a:spLocks/>
            </p:cNvSpPr>
            <p:nvPr/>
          </p:nvSpPr>
          <p:spPr>
            <a:xfrm>
              <a:off x="964315" y="2890148"/>
              <a:ext cx="10433185" cy="37896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85750" indent="-28575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Segoe UI Semilight" panose="020B0402040204020203" pitchFamily="34" charset="0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Segoe UI Semilight" panose="020B0402040204020203" pitchFamily="34" charset="0"/>
                  <a:ea typeface="+mn-ea"/>
                  <a:cs typeface="+mn-cs"/>
                </a:defRPr>
              </a:lvl2pPr>
              <a:lvl3pPr marL="12001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Segoe UI Semilight" panose="020B0402040204020203" pitchFamily="34" charset="0"/>
                  <a:ea typeface="+mn-ea"/>
                  <a:cs typeface="+mn-cs"/>
                </a:defRPr>
              </a:lvl3pPr>
              <a:lvl4pPr marL="16573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Segoe UI Semilight" panose="020B0402040204020203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b="1" dirty="0"/>
                <a:t>Maximale Auslastung des Transformators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4E446D0C-581F-4C99-9770-E90A6B081C83}"/>
                </a:ext>
              </a:extLst>
            </p:cNvPr>
            <p:cNvSpPr txBox="1"/>
            <p:nvPr/>
          </p:nvSpPr>
          <p:spPr>
            <a:xfrm>
              <a:off x="4560907" y="3148057"/>
              <a:ext cx="324000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600" dirty="0"/>
                <a:t>Fall 2: Komponentenverteilung</a:t>
              </a: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6351CD3D-FB85-4508-A660-32CCA829BA6B}"/>
                </a:ext>
              </a:extLst>
            </p:cNvPr>
            <p:cNvSpPr txBox="1"/>
            <p:nvPr/>
          </p:nvSpPr>
          <p:spPr>
            <a:xfrm>
              <a:off x="1252740" y="3148057"/>
              <a:ext cx="324000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600" dirty="0"/>
                <a:t>Fall 1: Siedlungsstruktur</a:t>
              </a: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69298E08-56F0-4BCD-8819-12F3F76BD3B1}"/>
                </a:ext>
              </a:extLst>
            </p:cNvPr>
            <p:cNvSpPr txBox="1"/>
            <p:nvPr/>
          </p:nvSpPr>
          <p:spPr>
            <a:xfrm>
              <a:off x="7784168" y="3148057"/>
              <a:ext cx="324000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600" dirty="0"/>
                <a:t>Fall 3: Nutzerverhalt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134357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periment zur Quantifizierung notwendiger Zufallsverteilungen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717F3257-6C75-4EAB-BA1A-D4BD0A00B528}"/>
              </a:ext>
            </a:extLst>
          </p:cNvPr>
          <p:cNvSpPr txBox="1">
            <a:spLocks/>
          </p:cNvSpPr>
          <p:nvPr/>
        </p:nvSpPr>
        <p:spPr>
          <a:xfrm>
            <a:off x="879408" y="1334010"/>
            <a:ext cx="10433185" cy="3789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+mn-cs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b="1" dirty="0"/>
              <a:t>Minimale Spannung aller Hausanschlüsse bzgl. Nennspannung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F98A63A2-D768-4421-8E5E-DD9E5631A2E6}"/>
              </a:ext>
            </a:extLst>
          </p:cNvPr>
          <p:cNvSpPr txBox="1"/>
          <p:nvPr/>
        </p:nvSpPr>
        <p:spPr>
          <a:xfrm>
            <a:off x="4476000" y="1591919"/>
            <a:ext cx="3240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600" dirty="0"/>
              <a:t>Fall 2: Komponentenverteilung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178F448-46F8-4E1D-BC36-96A80D510694}"/>
              </a:ext>
            </a:extLst>
          </p:cNvPr>
          <p:cNvSpPr txBox="1"/>
          <p:nvPr/>
        </p:nvSpPr>
        <p:spPr>
          <a:xfrm>
            <a:off x="1167833" y="1591919"/>
            <a:ext cx="3240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600" dirty="0"/>
              <a:t>Fall 1: Siedlungsstruktur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57C6247A-6D62-4042-9958-896D283B583E}"/>
              </a:ext>
            </a:extLst>
          </p:cNvPr>
          <p:cNvSpPr txBox="1"/>
          <p:nvPr/>
        </p:nvSpPr>
        <p:spPr>
          <a:xfrm>
            <a:off x="7699261" y="1591919"/>
            <a:ext cx="3240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600" dirty="0"/>
              <a:t>Fall 3: Nutzerverhalten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C02102D5-2FD6-495D-97B1-53EB83D2CB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6352" y="1883091"/>
            <a:ext cx="2745818" cy="2920861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C71A63E1-3A16-44CF-B3DE-E1E456E0CCC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091" y="1883091"/>
            <a:ext cx="2745818" cy="2920861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E929B131-F3B7-4CD5-AB62-0CEEB57740F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668" y="1883090"/>
            <a:ext cx="2914329" cy="2920861"/>
          </a:xfrm>
          <a:prstGeom prst="rect">
            <a:avLst/>
          </a:prstGeom>
        </p:spPr>
      </p:pic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5D9A4DE-F4E5-41CD-9B8B-FB65EDF355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5159375"/>
            <a:ext cx="10433185" cy="1135896"/>
          </a:xfrm>
        </p:spPr>
        <p:txBody>
          <a:bodyPr/>
          <a:lstStyle/>
          <a:p>
            <a:pPr marL="0" indent="0">
              <a:buNone/>
            </a:pPr>
            <a:r>
              <a:rPr lang="de-DE" sz="1400" dirty="0"/>
              <a:t>Ergebnisvariable ist abhängig von Positionierung der Komponenten (Fall 3 aufgrund der Positionsabhängigkeit mit geringerer Streuung als Fall 2)</a:t>
            </a:r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14F8EC4A-E3BA-4C63-A70C-EF35CFFCD18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66763" y="6407378"/>
            <a:ext cx="10447861" cy="378965"/>
          </a:xfrm>
        </p:spPr>
        <p:txBody>
          <a:bodyPr/>
          <a:lstStyle/>
          <a:p>
            <a:pPr>
              <a:buFont typeface="Arial" panose="020B0604020202020204" pitchFamily="34" charset="0"/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14351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/>
          <p:cNvPicPr>
            <a:picLocks noGrp="1" noChangeAspect="1"/>
          </p:cNvPicPr>
          <p:nvPr>
            <p:ph type="pic" sz="quarter" idx="1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33" b="5733"/>
          <a:stretch>
            <a:fillRect/>
          </a:stretch>
        </p:blipFill>
        <p:spPr/>
      </p:pic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>
              <a:lnSpc>
                <a:spcPct val="150000"/>
              </a:lnSpc>
              <a:spcBef>
                <a:spcPts val="0"/>
              </a:spcBef>
              <a:defRPr/>
            </a:pPr>
            <a:r>
              <a:rPr lang="de-DE" dirty="0">
                <a:latin typeface="Segoe UI Semilight"/>
              </a:rPr>
              <a:t>Andreas Weiß  M. Sc. </a:t>
            </a:r>
          </a:p>
          <a:p>
            <a:pPr lvl="0">
              <a:spcBef>
                <a:spcPts val="0"/>
              </a:spcBef>
              <a:defRPr/>
            </a:pPr>
            <a:r>
              <a:rPr lang="de-DE" sz="1600" b="0" dirty="0">
                <a:latin typeface="Segoe UI Semilight"/>
              </a:rPr>
              <a:t>Wissenschaftlicher Mitarbeiter</a:t>
            </a:r>
          </a:p>
          <a:p>
            <a:pPr lvl="0">
              <a:spcBef>
                <a:spcPts val="0"/>
              </a:spcBef>
              <a:defRPr/>
            </a:pPr>
            <a:r>
              <a:rPr lang="de-DE" sz="1600" b="0" dirty="0">
                <a:latin typeface="Segoe UI Semilight"/>
              </a:rPr>
              <a:t>Forschungsstelle für Energiewirtschaft e.V.</a:t>
            </a:r>
          </a:p>
          <a:p>
            <a:pPr lvl="0">
              <a:spcBef>
                <a:spcPts val="0"/>
              </a:spcBef>
              <a:defRPr/>
            </a:pPr>
            <a:r>
              <a:rPr lang="de-DE" sz="1600" b="0" dirty="0">
                <a:latin typeface="Segoe UI Semilight"/>
              </a:rPr>
              <a:t>Tel.: 	+49(0)89 15 81 21– 64</a:t>
            </a:r>
          </a:p>
          <a:p>
            <a:pPr lvl="0">
              <a:spcBef>
                <a:spcPts val="0"/>
              </a:spcBef>
              <a:defRPr/>
            </a:pPr>
            <a:r>
              <a:rPr lang="de-DE" sz="1600" b="0" dirty="0">
                <a:latin typeface="Segoe UI Semilight"/>
              </a:rPr>
              <a:t>Email:	aweiss@ffe.de</a:t>
            </a:r>
          </a:p>
          <a:p>
            <a:endParaRPr lang="de-DE" sz="1400" dirty="0"/>
          </a:p>
        </p:txBody>
      </p:sp>
      <p:pic>
        <p:nvPicPr>
          <p:cNvPr id="7" name="Bildplatzhalter 6"/>
          <p:cNvPicPr>
            <a:picLocks noGrp="1" noChangeAspect="1"/>
          </p:cNvPicPr>
          <p:nvPr>
            <p:ph type="pic" sz="quarter" idx="1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" r="22"/>
          <a:stretch>
            <a:fillRect/>
          </a:stretch>
        </p:blipFill>
        <p:spPr/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5652CBF4-9552-48E0-938D-6530ED0DDEE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1555" y="5383796"/>
            <a:ext cx="1448044" cy="1199699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71FFAB8-CED2-4038-B506-5770C905DEE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6046" y="5812133"/>
            <a:ext cx="1715509" cy="771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3506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ragen? Anregungen? </a:t>
            </a:r>
            <a:br>
              <a:rPr lang="de-DE" dirty="0"/>
            </a:br>
            <a:r>
              <a:rPr lang="de-DE" dirty="0"/>
              <a:t>Weiteres Vorgehen?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de-DE"/>
              <a:t>Diskuss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4588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pSp>
        <p:nvGrpSpPr>
          <p:cNvPr id="9" name="Gruppieren 8"/>
          <p:cNvGrpSpPr/>
          <p:nvPr/>
        </p:nvGrpSpPr>
        <p:grpSpPr>
          <a:xfrm>
            <a:off x="861557" y="1828236"/>
            <a:ext cx="10349347" cy="653107"/>
            <a:chOff x="378148" y="1620391"/>
            <a:chExt cx="12102986" cy="720081"/>
          </a:xfrm>
        </p:grpSpPr>
        <p:sp>
          <p:nvSpPr>
            <p:cNvPr id="20" name="Rechteck 19"/>
            <p:cNvSpPr/>
            <p:nvPr/>
          </p:nvSpPr>
          <p:spPr>
            <a:xfrm>
              <a:off x="580612" y="1836415"/>
              <a:ext cx="11900522" cy="50405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dirty="0">
                  <a:solidFill>
                    <a:schemeClr val="tx1"/>
                  </a:solidFill>
                </a:rPr>
                <a:t>Ausgangslage und Simulationsmodell</a:t>
              </a:r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378148" y="1620391"/>
              <a:ext cx="468000" cy="440578"/>
              <a:chOff x="1386260" y="1728403"/>
              <a:chExt cx="468000" cy="440578"/>
            </a:xfrm>
          </p:grpSpPr>
          <p:sp>
            <p:nvSpPr>
              <p:cNvPr id="22" name="Rechteck 21"/>
              <p:cNvSpPr/>
              <p:nvPr/>
            </p:nvSpPr>
            <p:spPr>
              <a:xfrm>
                <a:off x="1386260" y="1728403"/>
                <a:ext cx="468000" cy="440578"/>
              </a:xfrm>
              <a:prstGeom prst="rect">
                <a:avLst/>
              </a:prstGeom>
              <a:solidFill>
                <a:srgbClr val="1F4E79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Textfeld 11"/>
              <p:cNvSpPr txBox="1"/>
              <p:nvPr/>
            </p:nvSpPr>
            <p:spPr>
              <a:xfrm>
                <a:off x="1476244" y="1777763"/>
                <a:ext cx="288032" cy="373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sz="1600" b="1" dirty="0">
                    <a:solidFill>
                      <a:prstClr val="white"/>
                    </a:solidFill>
                  </a:rPr>
                  <a:t>1</a:t>
                </a:r>
              </a:p>
            </p:txBody>
          </p:sp>
        </p:grpSp>
      </p:grpSp>
      <p:grpSp>
        <p:nvGrpSpPr>
          <p:cNvPr id="10" name="Gruppieren 9"/>
          <p:cNvGrpSpPr/>
          <p:nvPr/>
        </p:nvGrpSpPr>
        <p:grpSpPr>
          <a:xfrm>
            <a:off x="861557" y="3329244"/>
            <a:ext cx="10349347" cy="653107"/>
            <a:chOff x="378148" y="1620391"/>
            <a:chExt cx="12102986" cy="720081"/>
          </a:xfrm>
        </p:grpSpPr>
        <p:sp>
          <p:nvSpPr>
            <p:cNvPr id="16" name="Rechteck 15"/>
            <p:cNvSpPr/>
            <p:nvPr/>
          </p:nvSpPr>
          <p:spPr>
            <a:xfrm>
              <a:off x="580612" y="1836415"/>
              <a:ext cx="11900522" cy="50405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dirty="0">
                  <a:solidFill>
                    <a:srgbClr val="003840"/>
                  </a:solidFill>
                </a:rPr>
                <a:t>Vergleich verschiedener Modellierungsansätze im Verteilnetz</a:t>
              </a:r>
              <a:endParaRPr lang="de-DE" sz="2000" dirty="0">
                <a:solidFill>
                  <a:srgbClr val="003840"/>
                </a:solidFill>
              </a:endParaRPr>
            </a:p>
          </p:txBody>
        </p:sp>
        <p:grpSp>
          <p:nvGrpSpPr>
            <p:cNvPr id="17" name="Gruppieren 16"/>
            <p:cNvGrpSpPr/>
            <p:nvPr/>
          </p:nvGrpSpPr>
          <p:grpSpPr>
            <a:xfrm>
              <a:off x="378148" y="1620391"/>
              <a:ext cx="468000" cy="440578"/>
              <a:chOff x="1386260" y="1728403"/>
              <a:chExt cx="468000" cy="440578"/>
            </a:xfrm>
          </p:grpSpPr>
          <p:sp>
            <p:nvSpPr>
              <p:cNvPr id="18" name="Rechteck 17"/>
              <p:cNvSpPr/>
              <p:nvPr/>
            </p:nvSpPr>
            <p:spPr>
              <a:xfrm>
                <a:off x="1386260" y="1728403"/>
                <a:ext cx="468000" cy="440578"/>
              </a:xfrm>
              <a:prstGeom prst="rect">
                <a:avLst/>
              </a:prstGeom>
              <a:solidFill>
                <a:srgbClr val="1F4E79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Textfeld 31"/>
              <p:cNvSpPr txBox="1"/>
              <p:nvPr/>
            </p:nvSpPr>
            <p:spPr>
              <a:xfrm>
                <a:off x="1476244" y="1777763"/>
                <a:ext cx="288032" cy="373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sz="1600" b="1" dirty="0">
                    <a:solidFill>
                      <a:prstClr val="white"/>
                    </a:solidFill>
                  </a:rPr>
                  <a:t>2</a:t>
                </a:r>
              </a:p>
            </p:txBody>
          </p:sp>
        </p:grpSp>
      </p:grpSp>
      <p:grpSp>
        <p:nvGrpSpPr>
          <p:cNvPr id="11" name="Gruppieren 10"/>
          <p:cNvGrpSpPr/>
          <p:nvPr/>
        </p:nvGrpSpPr>
        <p:grpSpPr>
          <a:xfrm>
            <a:off x="859991" y="4830252"/>
            <a:ext cx="10349347" cy="653108"/>
            <a:chOff x="378148" y="1620390"/>
            <a:chExt cx="12102986" cy="720082"/>
          </a:xfrm>
        </p:grpSpPr>
        <p:sp>
          <p:nvSpPr>
            <p:cNvPr id="12" name="Rechteck 11"/>
            <p:cNvSpPr/>
            <p:nvPr/>
          </p:nvSpPr>
          <p:spPr>
            <a:xfrm>
              <a:off x="580612" y="1836415"/>
              <a:ext cx="11900522" cy="50405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dirty="0">
                  <a:solidFill>
                    <a:srgbClr val="003840"/>
                  </a:solidFill>
                </a:rPr>
                <a:t>Quantifizierung notwendiger Zufallsverteilungen</a:t>
              </a:r>
              <a:endParaRPr lang="de-DE" sz="2000" dirty="0">
                <a:solidFill>
                  <a:srgbClr val="003840"/>
                </a:solidFill>
              </a:endParaRPr>
            </a:p>
          </p:txBody>
        </p:sp>
        <p:grpSp>
          <p:nvGrpSpPr>
            <p:cNvPr id="13" name="Gruppieren 12"/>
            <p:cNvGrpSpPr/>
            <p:nvPr/>
          </p:nvGrpSpPr>
          <p:grpSpPr>
            <a:xfrm>
              <a:off x="378148" y="1620390"/>
              <a:ext cx="468000" cy="440577"/>
              <a:chOff x="1386260" y="1728402"/>
              <a:chExt cx="468000" cy="440577"/>
            </a:xfrm>
          </p:grpSpPr>
          <p:sp>
            <p:nvSpPr>
              <p:cNvPr id="14" name="Rechteck 13"/>
              <p:cNvSpPr/>
              <p:nvPr/>
            </p:nvSpPr>
            <p:spPr>
              <a:xfrm>
                <a:off x="1386260" y="1728402"/>
                <a:ext cx="468000" cy="440577"/>
              </a:xfrm>
              <a:prstGeom prst="rect">
                <a:avLst/>
              </a:prstGeom>
              <a:solidFill>
                <a:srgbClr val="1F4E79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Textfeld 36"/>
              <p:cNvSpPr txBox="1"/>
              <p:nvPr/>
            </p:nvSpPr>
            <p:spPr>
              <a:xfrm>
                <a:off x="1476244" y="1777763"/>
                <a:ext cx="288032" cy="373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sz="1600" b="1" dirty="0">
                    <a:solidFill>
                      <a:prstClr val="white"/>
                    </a:solidFill>
                  </a:rPr>
                  <a:t>3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454691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pSp>
        <p:nvGrpSpPr>
          <p:cNvPr id="9" name="Gruppieren 8"/>
          <p:cNvGrpSpPr/>
          <p:nvPr/>
        </p:nvGrpSpPr>
        <p:grpSpPr>
          <a:xfrm>
            <a:off x="861557" y="1828236"/>
            <a:ext cx="10349347" cy="653107"/>
            <a:chOff x="378148" y="1620391"/>
            <a:chExt cx="12102986" cy="720081"/>
          </a:xfrm>
        </p:grpSpPr>
        <p:sp>
          <p:nvSpPr>
            <p:cNvPr id="20" name="Rechteck 19"/>
            <p:cNvSpPr/>
            <p:nvPr/>
          </p:nvSpPr>
          <p:spPr>
            <a:xfrm>
              <a:off x="580612" y="1836415"/>
              <a:ext cx="11900522" cy="50405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dirty="0">
                  <a:solidFill>
                    <a:schemeClr val="tx1"/>
                  </a:solidFill>
                </a:rPr>
                <a:t>Ausgangslage und Simulationsmodell</a:t>
              </a:r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378148" y="1620391"/>
              <a:ext cx="468000" cy="440578"/>
              <a:chOff x="1386260" y="1728403"/>
              <a:chExt cx="468000" cy="440578"/>
            </a:xfrm>
          </p:grpSpPr>
          <p:sp>
            <p:nvSpPr>
              <p:cNvPr id="22" name="Rechteck 21"/>
              <p:cNvSpPr/>
              <p:nvPr/>
            </p:nvSpPr>
            <p:spPr>
              <a:xfrm>
                <a:off x="1386260" y="1728403"/>
                <a:ext cx="468000" cy="440578"/>
              </a:xfrm>
              <a:prstGeom prst="rect">
                <a:avLst/>
              </a:prstGeom>
              <a:solidFill>
                <a:srgbClr val="1F4E79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Textfeld 11"/>
              <p:cNvSpPr txBox="1"/>
              <p:nvPr/>
            </p:nvSpPr>
            <p:spPr>
              <a:xfrm>
                <a:off x="1476244" y="1777763"/>
                <a:ext cx="288032" cy="373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sz="1600" b="1" dirty="0">
                    <a:solidFill>
                      <a:prstClr val="white"/>
                    </a:solidFill>
                  </a:rPr>
                  <a:t>1</a:t>
                </a:r>
              </a:p>
            </p:txBody>
          </p:sp>
        </p:grpSp>
      </p:grpSp>
      <p:grpSp>
        <p:nvGrpSpPr>
          <p:cNvPr id="10" name="Gruppieren 9"/>
          <p:cNvGrpSpPr/>
          <p:nvPr/>
        </p:nvGrpSpPr>
        <p:grpSpPr>
          <a:xfrm>
            <a:off x="861557" y="3329244"/>
            <a:ext cx="10349347" cy="653107"/>
            <a:chOff x="378148" y="1620391"/>
            <a:chExt cx="12102986" cy="720081"/>
          </a:xfrm>
        </p:grpSpPr>
        <p:sp>
          <p:nvSpPr>
            <p:cNvPr id="16" name="Rechteck 15"/>
            <p:cNvSpPr/>
            <p:nvPr/>
          </p:nvSpPr>
          <p:spPr>
            <a:xfrm>
              <a:off x="580612" y="1836415"/>
              <a:ext cx="11900522" cy="50405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dirty="0">
                  <a:solidFill>
                    <a:srgbClr val="003840"/>
                  </a:solidFill>
                </a:rPr>
                <a:t>Vergleich verschiedener Modellierungsansätze im Verteilnetz</a:t>
              </a:r>
              <a:endParaRPr lang="de-DE" sz="2000" dirty="0">
                <a:solidFill>
                  <a:srgbClr val="003840"/>
                </a:solidFill>
              </a:endParaRPr>
            </a:p>
          </p:txBody>
        </p:sp>
        <p:grpSp>
          <p:nvGrpSpPr>
            <p:cNvPr id="17" name="Gruppieren 16"/>
            <p:cNvGrpSpPr/>
            <p:nvPr/>
          </p:nvGrpSpPr>
          <p:grpSpPr>
            <a:xfrm>
              <a:off x="378148" y="1620391"/>
              <a:ext cx="468000" cy="440578"/>
              <a:chOff x="1386260" y="1728403"/>
              <a:chExt cx="468000" cy="440578"/>
            </a:xfrm>
          </p:grpSpPr>
          <p:sp>
            <p:nvSpPr>
              <p:cNvPr id="18" name="Rechteck 17"/>
              <p:cNvSpPr/>
              <p:nvPr/>
            </p:nvSpPr>
            <p:spPr>
              <a:xfrm>
                <a:off x="1386260" y="1728403"/>
                <a:ext cx="468000" cy="440578"/>
              </a:xfrm>
              <a:prstGeom prst="rect">
                <a:avLst/>
              </a:prstGeom>
              <a:solidFill>
                <a:srgbClr val="1F4E79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Textfeld 31"/>
              <p:cNvSpPr txBox="1"/>
              <p:nvPr/>
            </p:nvSpPr>
            <p:spPr>
              <a:xfrm>
                <a:off x="1476244" y="1777763"/>
                <a:ext cx="288032" cy="373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sz="1600" b="1" dirty="0">
                    <a:solidFill>
                      <a:prstClr val="white"/>
                    </a:solidFill>
                  </a:rPr>
                  <a:t>2</a:t>
                </a:r>
              </a:p>
            </p:txBody>
          </p:sp>
        </p:grpSp>
      </p:grpSp>
      <p:grpSp>
        <p:nvGrpSpPr>
          <p:cNvPr id="11" name="Gruppieren 10"/>
          <p:cNvGrpSpPr/>
          <p:nvPr/>
        </p:nvGrpSpPr>
        <p:grpSpPr>
          <a:xfrm>
            <a:off x="859991" y="4830252"/>
            <a:ext cx="10349347" cy="653108"/>
            <a:chOff x="378148" y="1620390"/>
            <a:chExt cx="12102986" cy="720082"/>
          </a:xfrm>
        </p:grpSpPr>
        <p:sp>
          <p:nvSpPr>
            <p:cNvPr id="12" name="Rechteck 11"/>
            <p:cNvSpPr/>
            <p:nvPr/>
          </p:nvSpPr>
          <p:spPr>
            <a:xfrm>
              <a:off x="580612" y="1836415"/>
              <a:ext cx="11900522" cy="50405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dirty="0">
                  <a:solidFill>
                    <a:srgbClr val="003840"/>
                  </a:solidFill>
                </a:rPr>
                <a:t>Quantifizierung notwendiger Zufallsverteilungen</a:t>
              </a:r>
              <a:endParaRPr lang="de-DE" sz="2000" dirty="0">
                <a:solidFill>
                  <a:srgbClr val="003840"/>
                </a:solidFill>
              </a:endParaRPr>
            </a:p>
          </p:txBody>
        </p:sp>
        <p:grpSp>
          <p:nvGrpSpPr>
            <p:cNvPr id="13" name="Gruppieren 12"/>
            <p:cNvGrpSpPr/>
            <p:nvPr/>
          </p:nvGrpSpPr>
          <p:grpSpPr>
            <a:xfrm>
              <a:off x="378148" y="1620390"/>
              <a:ext cx="468000" cy="440577"/>
              <a:chOff x="1386260" y="1728402"/>
              <a:chExt cx="468000" cy="440577"/>
            </a:xfrm>
          </p:grpSpPr>
          <p:sp>
            <p:nvSpPr>
              <p:cNvPr id="14" name="Rechteck 13"/>
              <p:cNvSpPr/>
              <p:nvPr/>
            </p:nvSpPr>
            <p:spPr>
              <a:xfrm>
                <a:off x="1386260" y="1728402"/>
                <a:ext cx="468000" cy="440577"/>
              </a:xfrm>
              <a:prstGeom prst="rect">
                <a:avLst/>
              </a:prstGeom>
              <a:solidFill>
                <a:srgbClr val="1F4E79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Textfeld 36"/>
              <p:cNvSpPr txBox="1"/>
              <p:nvPr/>
            </p:nvSpPr>
            <p:spPr>
              <a:xfrm>
                <a:off x="1476244" y="1777763"/>
                <a:ext cx="288032" cy="373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sz="1600" b="1" dirty="0">
                    <a:solidFill>
                      <a:prstClr val="white"/>
                    </a:solidFill>
                  </a:rPr>
                  <a:t>3</a:t>
                </a:r>
              </a:p>
            </p:txBody>
          </p:sp>
        </p:grpSp>
      </p:grpSp>
      <p:sp>
        <p:nvSpPr>
          <p:cNvPr id="24" name="Rechteck 23">
            <a:extLst>
              <a:ext uri="{FF2B5EF4-FFF2-40B4-BE49-F238E27FC236}">
                <a16:creationId xmlns:a16="http://schemas.microsoft.com/office/drawing/2014/main" id="{648181E8-E1EB-45C6-A8C2-31A7164E9CA2}"/>
              </a:ext>
            </a:extLst>
          </p:cNvPr>
          <p:cNvSpPr/>
          <p:nvPr/>
        </p:nvSpPr>
        <p:spPr>
          <a:xfrm>
            <a:off x="719696" y="3128372"/>
            <a:ext cx="10752603" cy="1250781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10189DB-FEEA-4C9C-8D4B-5D55E4479F5F}"/>
              </a:ext>
            </a:extLst>
          </p:cNvPr>
          <p:cNvSpPr/>
          <p:nvPr/>
        </p:nvSpPr>
        <p:spPr>
          <a:xfrm>
            <a:off x="719698" y="4629381"/>
            <a:ext cx="10752603" cy="1250781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19114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7063AE9-EE84-4169-A9CD-2017575FF1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arbeitete Projekte</a:t>
            </a:r>
          </a:p>
        </p:txBody>
      </p:sp>
      <p:pic>
        <p:nvPicPr>
          <p:cNvPr id="4" name="Picture 2" descr="P:\BMWi-30 MONA_eV\8. Abbildungen\MONA Logo\MONA Logo.png">
            <a:extLst>
              <a:ext uri="{FF2B5EF4-FFF2-40B4-BE49-F238E27FC236}">
                <a16:creationId xmlns:a16="http://schemas.microsoft.com/office/drawing/2014/main" id="{9E5A2233-6110-4119-B794-6CB700FB32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0412" y="1679843"/>
            <a:ext cx="563665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5966881-9A47-47E1-A92C-A4F688FA99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4127" y="1639086"/>
            <a:ext cx="1382247" cy="621514"/>
          </a:xfrm>
          <a:prstGeom prst="rect">
            <a:avLst/>
          </a:prstGeom>
        </p:spPr>
      </p:pic>
      <p:pic>
        <p:nvPicPr>
          <p:cNvPr id="9" name="Picture 3" descr="P:\BMWi-39 Csells_eV\8.Abbildungen\Logos\Gesamtprojekt\Logo_CMYK_Csells.jpg">
            <a:extLst>
              <a:ext uri="{FF2B5EF4-FFF2-40B4-BE49-F238E27FC236}">
                <a16:creationId xmlns:a16="http://schemas.microsoft.com/office/drawing/2014/main" id="{6E594464-D61C-40C0-B5FE-ED9C8004C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3396" y="1730625"/>
            <a:ext cx="769716" cy="43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505C987-BD89-49CF-BC1E-BFF3D163C21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3" t="30734" r="7703" b="42938"/>
          <a:stretch/>
        </p:blipFill>
        <p:spPr>
          <a:xfrm>
            <a:off x="9245600" y="1747869"/>
            <a:ext cx="1275988" cy="403949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25154EF5-48D1-4833-A8B2-E10DF4D4B21F}"/>
              </a:ext>
            </a:extLst>
          </p:cNvPr>
          <p:cNvSpPr txBox="1"/>
          <p:nvPr/>
        </p:nvSpPr>
        <p:spPr>
          <a:xfrm>
            <a:off x="778340" y="2689206"/>
            <a:ext cx="234000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400" b="1" dirty="0">
                <a:latin typeface="+mj-lt"/>
                <a:cs typeface="Arial" panose="020B0604020202020204" pitchFamily="34" charset="0"/>
              </a:rPr>
              <a:t>„Merit Order Netz-Ausbau 2030“</a:t>
            </a:r>
          </a:p>
          <a:p>
            <a:pPr algn="just"/>
            <a:endParaRPr lang="de-DE" sz="1400" dirty="0">
              <a:latin typeface="+mj-lt"/>
              <a:cs typeface="Arial" panose="020B0604020202020204" pitchFamily="34" charset="0"/>
            </a:endParaRPr>
          </a:p>
          <a:p>
            <a:pPr algn="just"/>
            <a:endParaRPr lang="de-DE" sz="1400" dirty="0">
              <a:latin typeface="+mj-lt"/>
              <a:cs typeface="Arial" panose="020B0604020202020204" pitchFamily="34" charset="0"/>
            </a:endParaRPr>
          </a:p>
          <a:p>
            <a:pPr algn="ctr"/>
            <a:r>
              <a:rPr lang="de-DE" sz="1400" b="1" dirty="0">
                <a:latin typeface="+mj-lt"/>
                <a:cs typeface="Arial" panose="020B0604020202020204" pitchFamily="34" charset="0"/>
              </a:rPr>
              <a:t>2014 – 2017</a:t>
            </a:r>
          </a:p>
          <a:p>
            <a:pPr algn="just"/>
            <a:endParaRPr lang="de-DE" sz="1400" dirty="0">
              <a:latin typeface="+mj-lt"/>
              <a:cs typeface="Arial" panose="020B0604020202020204" pitchFamily="34" charset="0"/>
            </a:endParaRPr>
          </a:p>
          <a:p>
            <a:pPr algn="just"/>
            <a:r>
              <a:rPr lang="de-DE" sz="1400" b="1" dirty="0">
                <a:latin typeface="+mj-lt"/>
                <a:cs typeface="Arial" panose="020B0604020202020204" pitchFamily="34" charset="0"/>
              </a:rPr>
              <a:t>Ziel:</a:t>
            </a:r>
          </a:p>
          <a:p>
            <a:pPr algn="just"/>
            <a:r>
              <a:rPr lang="de-DE" sz="1400" b="0" dirty="0">
                <a:latin typeface="+mj-lt"/>
                <a:cs typeface="Arial" panose="020B0604020202020204" pitchFamily="34" charset="0"/>
              </a:rPr>
              <a:t>Systematischer Vergleich verschiedener netzoptimie-render Maßnahmen.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8D1856C-9C08-4947-B921-29EBFB82BF3E}"/>
              </a:ext>
            </a:extLst>
          </p:cNvPr>
          <p:cNvSpPr txBox="1"/>
          <p:nvPr/>
        </p:nvSpPr>
        <p:spPr>
          <a:xfrm>
            <a:off x="3308254" y="2689206"/>
            <a:ext cx="2340000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ctr">
              <a:defRPr sz="1600"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DE" sz="1400" dirty="0"/>
              <a:t>„C/</a:t>
            </a:r>
            <a:r>
              <a:rPr lang="de-DE" sz="1400" dirty="0" err="1"/>
              <a:t>sells</a:t>
            </a:r>
            <a:r>
              <a:rPr lang="de-DE" sz="1400" dirty="0"/>
              <a:t> – Großflächiges Schaufenster im Solarbogen Süddeutschlands“</a:t>
            </a:r>
          </a:p>
          <a:p>
            <a:endParaRPr lang="de-DE" sz="1400" dirty="0"/>
          </a:p>
          <a:p>
            <a:r>
              <a:rPr lang="de-DE" sz="1400" dirty="0"/>
              <a:t>2017 – 2021</a:t>
            </a:r>
          </a:p>
          <a:p>
            <a:endParaRPr lang="de-DE" sz="1400" dirty="0"/>
          </a:p>
          <a:p>
            <a:pPr algn="l"/>
            <a:r>
              <a:rPr lang="de-DE" sz="1400" dirty="0"/>
              <a:t>Ziel:</a:t>
            </a:r>
          </a:p>
          <a:p>
            <a:pPr algn="just"/>
            <a:r>
              <a:rPr lang="de-DE" sz="1400" b="0" dirty="0"/>
              <a:t>Identifikation des Bedarfs an netzdienlicher Flexibilität. Potenzialbewertung von Flexibilitätsoptionen zur Optimierung des Netz-betriebs.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177F465-09A4-47A0-9E43-CB09C8E5AECC}"/>
              </a:ext>
            </a:extLst>
          </p:cNvPr>
          <p:cNvSpPr txBox="1"/>
          <p:nvPr/>
        </p:nvSpPr>
        <p:spPr>
          <a:xfrm>
            <a:off x="6065250" y="2689206"/>
            <a:ext cx="2340000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ctr">
              <a:defRPr sz="1600"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DE" sz="1400" dirty="0"/>
              <a:t>„München elektrisiert“</a:t>
            </a:r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  <a:p>
            <a:r>
              <a:rPr lang="de-DE" sz="1400" dirty="0"/>
              <a:t>2018 – 2022</a:t>
            </a:r>
          </a:p>
          <a:p>
            <a:endParaRPr lang="de-DE" sz="1400" dirty="0"/>
          </a:p>
          <a:p>
            <a:pPr algn="l"/>
            <a:r>
              <a:rPr lang="de-DE" sz="1400" dirty="0"/>
              <a:t>Ziel:</a:t>
            </a:r>
          </a:p>
          <a:p>
            <a:pPr algn="just"/>
            <a:r>
              <a:rPr lang="de-DE" sz="1400" b="0" dirty="0"/>
              <a:t>Bewertung der </a:t>
            </a:r>
            <a:r>
              <a:rPr lang="de-DE" sz="1400" b="0" dirty="0" err="1"/>
              <a:t>Auswir-kungen</a:t>
            </a:r>
            <a:r>
              <a:rPr lang="de-DE" sz="1400" b="0" dirty="0"/>
              <a:t> von Elektrofahr-zeugen auf die aktuelle und zukünftige Belastung im Verteilnetz Münchens.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97A47AB-B516-4E1D-A093-D66299BF1004}"/>
              </a:ext>
            </a:extLst>
          </p:cNvPr>
          <p:cNvSpPr txBox="1"/>
          <p:nvPr/>
        </p:nvSpPr>
        <p:spPr>
          <a:xfrm>
            <a:off x="8713594" y="2690039"/>
            <a:ext cx="2340000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400" b="1" dirty="0">
                <a:latin typeface="+mj-lt"/>
                <a:cs typeface="Arial" panose="020B0604020202020204" pitchFamily="34" charset="0"/>
              </a:rPr>
              <a:t>„Bidirektionales Lademanagement“</a:t>
            </a:r>
          </a:p>
          <a:p>
            <a:pPr algn="just"/>
            <a:endParaRPr lang="de-DE" sz="1400" dirty="0">
              <a:latin typeface="+mj-lt"/>
              <a:cs typeface="Arial" panose="020B0604020202020204" pitchFamily="34" charset="0"/>
            </a:endParaRPr>
          </a:p>
          <a:p>
            <a:pPr algn="just"/>
            <a:endParaRPr lang="de-DE" sz="1400" dirty="0">
              <a:latin typeface="+mj-lt"/>
              <a:cs typeface="Arial" panose="020B0604020202020204" pitchFamily="34" charset="0"/>
            </a:endParaRPr>
          </a:p>
          <a:p>
            <a:pPr algn="ctr"/>
            <a:r>
              <a:rPr lang="de-DE" sz="1400" b="1" dirty="0">
                <a:latin typeface="+mj-lt"/>
                <a:cs typeface="Arial" panose="020B0604020202020204" pitchFamily="34" charset="0"/>
              </a:rPr>
              <a:t>2019 – 2022</a:t>
            </a:r>
          </a:p>
          <a:p>
            <a:pPr algn="just"/>
            <a:endParaRPr lang="de-DE" sz="1400" dirty="0">
              <a:latin typeface="+mj-lt"/>
              <a:cs typeface="Arial" panose="020B0604020202020204" pitchFamily="34" charset="0"/>
            </a:endParaRPr>
          </a:p>
          <a:p>
            <a:pPr algn="just"/>
            <a:r>
              <a:rPr lang="de-DE" sz="1400" b="1" dirty="0">
                <a:latin typeface="+mj-lt"/>
                <a:cs typeface="Arial" panose="020B0604020202020204" pitchFamily="34" charset="0"/>
              </a:rPr>
              <a:t>Ziel:</a:t>
            </a:r>
          </a:p>
          <a:p>
            <a:pPr algn="just"/>
            <a:r>
              <a:rPr lang="de-DE" sz="1400" b="0" dirty="0">
                <a:latin typeface="+mj-lt"/>
                <a:cs typeface="Arial" panose="020B0604020202020204" pitchFamily="34" charset="0"/>
              </a:rPr>
              <a:t>Bewertung der </a:t>
            </a:r>
            <a:r>
              <a:rPr lang="de-DE" sz="1400" b="0" dirty="0" err="1">
                <a:latin typeface="+mj-lt"/>
                <a:cs typeface="Arial" panose="020B0604020202020204" pitchFamily="34" charset="0"/>
              </a:rPr>
              <a:t>Auswir-kungen</a:t>
            </a:r>
            <a:r>
              <a:rPr lang="de-DE" sz="1400" b="0" dirty="0">
                <a:latin typeface="+mj-lt"/>
                <a:cs typeface="Arial" panose="020B0604020202020204" pitchFamily="34" charset="0"/>
              </a:rPr>
              <a:t> und des Potenzials der Integration bidirektional ladender Elektrofahrzeuge im Verteilnetz.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672C3AF2-DE54-49B8-BD48-2F30FE8E171D}"/>
              </a:ext>
            </a:extLst>
          </p:cNvPr>
          <p:cNvSpPr txBox="1">
            <a:spLocks/>
          </p:cNvSpPr>
          <p:nvPr/>
        </p:nvSpPr>
        <p:spPr>
          <a:xfrm>
            <a:off x="766762" y="6356350"/>
            <a:ext cx="10447861" cy="424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rgbClr val="356CA5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/>
              <a:t>Verschiedene Projekte erfordern verschiedene Optionen der Modellierung/Simulation</a:t>
            </a:r>
          </a:p>
        </p:txBody>
      </p:sp>
    </p:spTree>
    <p:extLst>
      <p:ext uri="{BB962C8B-B14F-4D97-AF65-F5344CB8AC3E}">
        <p14:creationId xmlns:p14="http://schemas.microsoft.com/office/powerpoint/2010/main" val="17542425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66763" y="1844675"/>
            <a:ext cx="7310437" cy="4511676"/>
          </a:xfrm>
        </p:spPr>
        <p:txBody>
          <a:bodyPr/>
          <a:lstStyle/>
          <a:p>
            <a:pPr marL="0" indent="0" algn="just">
              <a:buNone/>
            </a:pPr>
            <a:r>
              <a:rPr lang="de-DE" sz="2400" dirty="0"/>
              <a:t>Durch welche Kriterien werden Modellierungsansätze bei der Simulation von Netzbelastungssituationen im Verteilnetz bedingt?</a:t>
            </a:r>
          </a:p>
          <a:p>
            <a:pPr marL="0" indent="0" algn="just">
              <a:buNone/>
            </a:pPr>
            <a:endParaRPr lang="de-DE" sz="2400" dirty="0"/>
          </a:p>
          <a:p>
            <a:pPr marL="0" indent="0" algn="just">
              <a:buNone/>
            </a:pPr>
            <a:r>
              <a:rPr lang="de-DE" sz="2400" dirty="0"/>
              <a:t>Welche Vor- und Nachteile gehen mit diesen verschiedenen Modellierungsansätzen einher?</a:t>
            </a:r>
          </a:p>
          <a:p>
            <a:pPr marL="0" indent="0" algn="just">
              <a:buNone/>
            </a:pPr>
            <a:endParaRPr lang="de-DE" sz="2400" dirty="0"/>
          </a:p>
          <a:p>
            <a:pPr marL="0" indent="0" algn="just">
              <a:buNone/>
            </a:pPr>
            <a:r>
              <a:rPr lang="de-DE" sz="2400" dirty="0"/>
              <a:t>Welchen Einfluss hat die verschiedenartige, zufällige Verteilung von Komponenten und Attributen auf die resultierende Netzbelastung?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rschungsfragen?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endParaRPr lang="de-DE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D135A62-9416-4528-9338-1D443A59B40C}"/>
              </a:ext>
            </a:extLst>
          </p:cNvPr>
          <p:cNvGrpSpPr>
            <a:grpSpLocks noChangeAspect="1"/>
          </p:cNvGrpSpPr>
          <p:nvPr/>
        </p:nvGrpSpPr>
        <p:grpSpPr>
          <a:xfrm>
            <a:off x="10108303" y="3672270"/>
            <a:ext cx="520550" cy="477611"/>
            <a:chOff x="2040402" y="2724061"/>
            <a:chExt cx="3116059" cy="2859004"/>
          </a:xfrm>
          <a:solidFill>
            <a:srgbClr val="AB2626"/>
          </a:solidFill>
        </p:grpSpPr>
        <p:sp>
          <p:nvSpPr>
            <p:cNvPr id="21" name="Abgerundetes Rechteck 159">
              <a:extLst>
                <a:ext uri="{FF2B5EF4-FFF2-40B4-BE49-F238E27FC236}">
                  <a16:creationId xmlns:a16="http://schemas.microsoft.com/office/drawing/2014/main" id="{06C5C9EE-ABE1-486E-B221-2C0280DE1FC2}"/>
                </a:ext>
              </a:extLst>
            </p:cNvPr>
            <p:cNvSpPr/>
            <p:nvPr/>
          </p:nvSpPr>
          <p:spPr>
            <a:xfrm>
              <a:off x="4571999" y="2837468"/>
              <a:ext cx="584462" cy="1567845"/>
            </a:xfrm>
            <a:prstGeom prst="roundRect">
              <a:avLst>
                <a:gd name="adj" fmla="val 3118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1D341D6-F265-4798-9255-97290D7C95F7}"/>
                </a:ext>
              </a:extLst>
            </p:cNvPr>
            <p:cNvSpPr/>
            <p:nvPr/>
          </p:nvSpPr>
          <p:spPr>
            <a:xfrm>
              <a:off x="3124200" y="2950590"/>
              <a:ext cx="1372386" cy="145472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23" name="Abgerundetes Rechteck 161">
              <a:extLst>
                <a:ext uri="{FF2B5EF4-FFF2-40B4-BE49-F238E27FC236}">
                  <a16:creationId xmlns:a16="http://schemas.microsoft.com/office/drawing/2014/main" id="{6DC04B21-59DD-4339-AA73-17038D2B98B0}"/>
                </a:ext>
              </a:extLst>
            </p:cNvPr>
            <p:cNvSpPr/>
            <p:nvPr/>
          </p:nvSpPr>
          <p:spPr>
            <a:xfrm rot="16389163">
              <a:off x="3202049" y="1962875"/>
              <a:ext cx="494963" cy="201733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24" name="Träne 23">
              <a:extLst>
                <a:ext uri="{FF2B5EF4-FFF2-40B4-BE49-F238E27FC236}">
                  <a16:creationId xmlns:a16="http://schemas.microsoft.com/office/drawing/2014/main" id="{9EEDE139-8586-4FA6-8F90-149DE0D8AA54}"/>
                </a:ext>
              </a:extLst>
            </p:cNvPr>
            <p:cNvSpPr/>
            <p:nvPr/>
          </p:nvSpPr>
          <p:spPr>
            <a:xfrm rot="10800000">
              <a:off x="2795376" y="2737384"/>
              <a:ext cx="2095501" cy="652147"/>
            </a:xfrm>
            <a:prstGeom prst="teardrop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25" name="Flussdiagramm: Prozess 24">
              <a:extLst>
                <a:ext uri="{FF2B5EF4-FFF2-40B4-BE49-F238E27FC236}">
                  <a16:creationId xmlns:a16="http://schemas.microsoft.com/office/drawing/2014/main" id="{FD0BAEAE-C934-44F4-8AAC-23DD126124F6}"/>
                </a:ext>
              </a:extLst>
            </p:cNvPr>
            <p:cNvSpPr/>
            <p:nvPr/>
          </p:nvSpPr>
          <p:spPr>
            <a:xfrm>
              <a:off x="4496584" y="2809175"/>
              <a:ext cx="75413" cy="779645"/>
            </a:xfrm>
            <a:prstGeom prst="flowChartProcess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26" name="Abgerundetes Rechteck 164">
              <a:extLst>
                <a:ext uri="{FF2B5EF4-FFF2-40B4-BE49-F238E27FC236}">
                  <a16:creationId xmlns:a16="http://schemas.microsoft.com/office/drawing/2014/main" id="{EBEAB70A-8F49-4144-B480-9F093853F81A}"/>
                </a:ext>
              </a:extLst>
            </p:cNvPr>
            <p:cNvSpPr/>
            <p:nvPr/>
          </p:nvSpPr>
          <p:spPr>
            <a:xfrm rot="16389163">
              <a:off x="2957033" y="2422934"/>
              <a:ext cx="494963" cy="201733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27" name="Abgerundetes Rechteck 165">
              <a:extLst>
                <a:ext uri="{FF2B5EF4-FFF2-40B4-BE49-F238E27FC236}">
                  <a16:creationId xmlns:a16="http://schemas.microsoft.com/office/drawing/2014/main" id="{4279F383-C5B3-4D18-85A5-9D136546D4F6}"/>
                </a:ext>
              </a:extLst>
            </p:cNvPr>
            <p:cNvSpPr/>
            <p:nvPr/>
          </p:nvSpPr>
          <p:spPr>
            <a:xfrm rot="15410064">
              <a:off x="2801589" y="2669282"/>
              <a:ext cx="494963" cy="201733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28" name="Abgerundetes Rechteck 166">
              <a:extLst>
                <a:ext uri="{FF2B5EF4-FFF2-40B4-BE49-F238E27FC236}">
                  <a16:creationId xmlns:a16="http://schemas.microsoft.com/office/drawing/2014/main" id="{56EE8487-46BC-45A8-B25C-E0F38FEC86E0}"/>
                </a:ext>
              </a:extLst>
            </p:cNvPr>
            <p:cNvSpPr/>
            <p:nvPr/>
          </p:nvSpPr>
          <p:spPr>
            <a:xfrm rot="15410064">
              <a:off x="2801588" y="3114216"/>
              <a:ext cx="494963" cy="201733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29" name="Träne 28">
              <a:extLst>
                <a:ext uri="{FF2B5EF4-FFF2-40B4-BE49-F238E27FC236}">
                  <a16:creationId xmlns:a16="http://schemas.microsoft.com/office/drawing/2014/main" id="{DC207889-2973-432D-A11A-BDF3B70F066F}"/>
                </a:ext>
              </a:extLst>
            </p:cNvPr>
            <p:cNvSpPr/>
            <p:nvPr/>
          </p:nvSpPr>
          <p:spPr>
            <a:xfrm>
              <a:off x="3248764" y="4047128"/>
              <a:ext cx="1589947" cy="412603"/>
            </a:xfrm>
            <a:prstGeom prst="teardrop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30" name="Flussdiagramm: Prozess 29">
              <a:extLst>
                <a:ext uri="{FF2B5EF4-FFF2-40B4-BE49-F238E27FC236}">
                  <a16:creationId xmlns:a16="http://schemas.microsoft.com/office/drawing/2014/main" id="{A38563D5-7DFD-45AC-B0B5-E4E04EFED28D}"/>
                </a:ext>
              </a:extLst>
            </p:cNvPr>
            <p:cNvSpPr/>
            <p:nvPr/>
          </p:nvSpPr>
          <p:spPr>
            <a:xfrm>
              <a:off x="4496585" y="3596131"/>
              <a:ext cx="75413" cy="832042"/>
            </a:xfrm>
            <a:prstGeom prst="flowChartProcess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31" name="Träne 30">
              <a:extLst>
                <a:ext uri="{FF2B5EF4-FFF2-40B4-BE49-F238E27FC236}">
                  <a16:creationId xmlns:a16="http://schemas.microsoft.com/office/drawing/2014/main" id="{4C83BFF7-0305-4A6A-ADC4-361958CA0E97}"/>
                </a:ext>
              </a:extLst>
            </p:cNvPr>
            <p:cNvSpPr/>
            <p:nvPr/>
          </p:nvSpPr>
          <p:spPr>
            <a:xfrm rot="19408250">
              <a:off x="3107484" y="5011005"/>
              <a:ext cx="461638" cy="572060"/>
            </a:xfrm>
            <a:prstGeom prst="teardrop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CDFF1FF0-93E4-469F-9D50-CEEDA87411B3}"/>
                </a:ext>
              </a:extLst>
            </p:cNvPr>
            <p:cNvSpPr/>
            <p:nvPr/>
          </p:nvSpPr>
          <p:spPr>
            <a:xfrm rot="830503">
              <a:off x="3286101" y="3595237"/>
              <a:ext cx="508347" cy="164393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D7295B72-88AE-46A2-B49A-630F7F2C2BEB}"/>
                </a:ext>
              </a:extLst>
            </p:cNvPr>
            <p:cNvSpPr/>
            <p:nvPr/>
          </p:nvSpPr>
          <p:spPr>
            <a:xfrm rot="2409766">
              <a:off x="2889916" y="3609623"/>
              <a:ext cx="952595" cy="91072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C98BA254-DDF9-4046-AE92-40E9C404E967}"/>
                </a:ext>
              </a:extLst>
            </p:cNvPr>
            <p:cNvSpPr/>
            <p:nvPr/>
          </p:nvSpPr>
          <p:spPr>
            <a:xfrm rot="2409766">
              <a:off x="3042316" y="3762023"/>
              <a:ext cx="952595" cy="91072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23E94938-4549-4989-BFB3-E14347FCA2EB}"/>
                </a:ext>
              </a:extLst>
            </p:cNvPr>
            <p:cNvSpPr/>
            <p:nvPr/>
          </p:nvSpPr>
          <p:spPr>
            <a:xfrm>
              <a:off x="2795376" y="3850126"/>
              <a:ext cx="510485" cy="5902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479DDEB6-F624-4E70-9DC3-2D43BACF6685}"/>
                </a:ext>
              </a:extLst>
            </p:cNvPr>
            <p:cNvSpPr/>
            <p:nvPr/>
          </p:nvSpPr>
          <p:spPr>
            <a:xfrm>
              <a:off x="3243946" y="4342191"/>
              <a:ext cx="439716" cy="3828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FF03DF8D-CDB0-4B6F-8DD0-F5A73EAB3BC2}"/>
                </a:ext>
              </a:extLst>
            </p:cNvPr>
            <p:cNvSpPr/>
            <p:nvPr/>
          </p:nvSpPr>
          <p:spPr>
            <a:xfrm rot="15281501">
              <a:off x="4521108" y="2911920"/>
              <a:ext cx="352869" cy="19800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50115A7F-A408-41C7-AA48-89AA86AD45EA}"/>
                </a:ext>
              </a:extLst>
            </p:cNvPr>
            <p:cNvSpPr/>
            <p:nvPr/>
          </p:nvSpPr>
          <p:spPr>
            <a:xfrm rot="5638516">
              <a:off x="4501399" y="4136277"/>
              <a:ext cx="352869" cy="18766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C843E9C1-8512-4B36-B327-116A5F7907CF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9399443" y="3484612"/>
            <a:ext cx="520550" cy="477611"/>
            <a:chOff x="2040402" y="2724061"/>
            <a:chExt cx="3116059" cy="2859004"/>
          </a:xfrm>
          <a:solidFill>
            <a:srgbClr val="639729"/>
          </a:solidFill>
        </p:grpSpPr>
        <p:sp>
          <p:nvSpPr>
            <p:cNvPr id="40" name="Abgerundetes Rechteck 159">
              <a:extLst>
                <a:ext uri="{FF2B5EF4-FFF2-40B4-BE49-F238E27FC236}">
                  <a16:creationId xmlns:a16="http://schemas.microsoft.com/office/drawing/2014/main" id="{3C942577-14CD-4896-A63D-6CE27E49CFB4}"/>
                </a:ext>
              </a:extLst>
            </p:cNvPr>
            <p:cNvSpPr/>
            <p:nvPr/>
          </p:nvSpPr>
          <p:spPr>
            <a:xfrm>
              <a:off x="4571999" y="2837468"/>
              <a:ext cx="584462" cy="1567845"/>
            </a:xfrm>
            <a:prstGeom prst="roundRect">
              <a:avLst>
                <a:gd name="adj" fmla="val 3118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1F4D2E4D-4CDC-4889-BEDB-69F6F4766BFC}"/>
                </a:ext>
              </a:extLst>
            </p:cNvPr>
            <p:cNvSpPr/>
            <p:nvPr/>
          </p:nvSpPr>
          <p:spPr>
            <a:xfrm>
              <a:off x="3124200" y="2950590"/>
              <a:ext cx="1372386" cy="145472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42" name="Abgerundetes Rechteck 161">
              <a:extLst>
                <a:ext uri="{FF2B5EF4-FFF2-40B4-BE49-F238E27FC236}">
                  <a16:creationId xmlns:a16="http://schemas.microsoft.com/office/drawing/2014/main" id="{0F4EECA4-3E65-4ED0-8F35-5FF15E6A1B70}"/>
                </a:ext>
              </a:extLst>
            </p:cNvPr>
            <p:cNvSpPr/>
            <p:nvPr/>
          </p:nvSpPr>
          <p:spPr>
            <a:xfrm rot="16389163">
              <a:off x="3202049" y="1962875"/>
              <a:ext cx="494963" cy="201733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43" name="Träne 42">
              <a:extLst>
                <a:ext uri="{FF2B5EF4-FFF2-40B4-BE49-F238E27FC236}">
                  <a16:creationId xmlns:a16="http://schemas.microsoft.com/office/drawing/2014/main" id="{D3D733CC-F322-44F7-B159-53142E0FB7AF}"/>
                </a:ext>
              </a:extLst>
            </p:cNvPr>
            <p:cNvSpPr/>
            <p:nvPr/>
          </p:nvSpPr>
          <p:spPr>
            <a:xfrm rot="10800000">
              <a:off x="2795376" y="2737384"/>
              <a:ext cx="2095501" cy="652147"/>
            </a:xfrm>
            <a:prstGeom prst="teardrop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44" name="Flussdiagramm: Prozess 43">
              <a:extLst>
                <a:ext uri="{FF2B5EF4-FFF2-40B4-BE49-F238E27FC236}">
                  <a16:creationId xmlns:a16="http://schemas.microsoft.com/office/drawing/2014/main" id="{C7733778-003C-4650-819A-7BEE34B080F0}"/>
                </a:ext>
              </a:extLst>
            </p:cNvPr>
            <p:cNvSpPr/>
            <p:nvPr/>
          </p:nvSpPr>
          <p:spPr>
            <a:xfrm>
              <a:off x="4496584" y="2809175"/>
              <a:ext cx="75413" cy="779645"/>
            </a:xfrm>
            <a:prstGeom prst="flowChartProcess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45" name="Abgerundetes Rechteck 164">
              <a:extLst>
                <a:ext uri="{FF2B5EF4-FFF2-40B4-BE49-F238E27FC236}">
                  <a16:creationId xmlns:a16="http://schemas.microsoft.com/office/drawing/2014/main" id="{855F994D-39A5-41A3-9836-85B64B39CCD9}"/>
                </a:ext>
              </a:extLst>
            </p:cNvPr>
            <p:cNvSpPr/>
            <p:nvPr/>
          </p:nvSpPr>
          <p:spPr>
            <a:xfrm rot="16389163">
              <a:off x="2957033" y="2422934"/>
              <a:ext cx="494963" cy="201733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46" name="Abgerundetes Rechteck 165">
              <a:extLst>
                <a:ext uri="{FF2B5EF4-FFF2-40B4-BE49-F238E27FC236}">
                  <a16:creationId xmlns:a16="http://schemas.microsoft.com/office/drawing/2014/main" id="{4448074F-B721-4C98-BCBE-86271FE176B2}"/>
                </a:ext>
              </a:extLst>
            </p:cNvPr>
            <p:cNvSpPr/>
            <p:nvPr/>
          </p:nvSpPr>
          <p:spPr>
            <a:xfrm rot="15410064">
              <a:off x="2801589" y="2669282"/>
              <a:ext cx="494963" cy="201733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47" name="Abgerundetes Rechteck 166">
              <a:extLst>
                <a:ext uri="{FF2B5EF4-FFF2-40B4-BE49-F238E27FC236}">
                  <a16:creationId xmlns:a16="http://schemas.microsoft.com/office/drawing/2014/main" id="{411D26D5-685D-4E8B-A6B3-34FF4AF5C23B}"/>
                </a:ext>
              </a:extLst>
            </p:cNvPr>
            <p:cNvSpPr/>
            <p:nvPr/>
          </p:nvSpPr>
          <p:spPr>
            <a:xfrm rot="15410064">
              <a:off x="2801588" y="3114216"/>
              <a:ext cx="494963" cy="201733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48" name="Träne 47">
              <a:extLst>
                <a:ext uri="{FF2B5EF4-FFF2-40B4-BE49-F238E27FC236}">
                  <a16:creationId xmlns:a16="http://schemas.microsoft.com/office/drawing/2014/main" id="{E915BED1-BF5A-41C7-9B55-AB626F476693}"/>
                </a:ext>
              </a:extLst>
            </p:cNvPr>
            <p:cNvSpPr/>
            <p:nvPr/>
          </p:nvSpPr>
          <p:spPr>
            <a:xfrm>
              <a:off x="3248764" y="4047128"/>
              <a:ext cx="1589947" cy="412603"/>
            </a:xfrm>
            <a:prstGeom prst="teardrop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49" name="Flussdiagramm: Prozess 48">
              <a:extLst>
                <a:ext uri="{FF2B5EF4-FFF2-40B4-BE49-F238E27FC236}">
                  <a16:creationId xmlns:a16="http://schemas.microsoft.com/office/drawing/2014/main" id="{5862AA1C-4326-493B-91F5-0829CF052909}"/>
                </a:ext>
              </a:extLst>
            </p:cNvPr>
            <p:cNvSpPr/>
            <p:nvPr/>
          </p:nvSpPr>
          <p:spPr>
            <a:xfrm>
              <a:off x="4496585" y="3596131"/>
              <a:ext cx="75413" cy="832042"/>
            </a:xfrm>
            <a:prstGeom prst="flowChartProcess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50" name="Träne 49">
              <a:extLst>
                <a:ext uri="{FF2B5EF4-FFF2-40B4-BE49-F238E27FC236}">
                  <a16:creationId xmlns:a16="http://schemas.microsoft.com/office/drawing/2014/main" id="{F6BD8F1E-8420-46FA-8D23-E06F1A713112}"/>
                </a:ext>
              </a:extLst>
            </p:cNvPr>
            <p:cNvSpPr/>
            <p:nvPr/>
          </p:nvSpPr>
          <p:spPr>
            <a:xfrm rot="19408250">
              <a:off x="3107484" y="5011005"/>
              <a:ext cx="461638" cy="572060"/>
            </a:xfrm>
            <a:prstGeom prst="teardrop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1CCAB597-A2AD-40CC-8EC5-AF4DAA0ADD15}"/>
                </a:ext>
              </a:extLst>
            </p:cNvPr>
            <p:cNvSpPr/>
            <p:nvPr/>
          </p:nvSpPr>
          <p:spPr>
            <a:xfrm rot="830503">
              <a:off x="3286101" y="3595237"/>
              <a:ext cx="508347" cy="164393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08D81222-2237-400B-9E00-7712F8605B64}"/>
                </a:ext>
              </a:extLst>
            </p:cNvPr>
            <p:cNvSpPr/>
            <p:nvPr/>
          </p:nvSpPr>
          <p:spPr>
            <a:xfrm rot="2409766">
              <a:off x="2889916" y="3609623"/>
              <a:ext cx="952595" cy="91072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CEF43410-0F63-465A-A530-C178DB364D16}"/>
                </a:ext>
              </a:extLst>
            </p:cNvPr>
            <p:cNvSpPr/>
            <p:nvPr/>
          </p:nvSpPr>
          <p:spPr>
            <a:xfrm rot="2409766">
              <a:off x="3042316" y="3762023"/>
              <a:ext cx="952595" cy="91072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1CDD34B9-0524-49F3-B510-767B9641BFED}"/>
                </a:ext>
              </a:extLst>
            </p:cNvPr>
            <p:cNvSpPr/>
            <p:nvPr/>
          </p:nvSpPr>
          <p:spPr>
            <a:xfrm>
              <a:off x="2795376" y="3850126"/>
              <a:ext cx="510485" cy="5902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C2BFE824-3259-4013-85B2-0314CB1E17FD}"/>
                </a:ext>
              </a:extLst>
            </p:cNvPr>
            <p:cNvSpPr/>
            <p:nvPr/>
          </p:nvSpPr>
          <p:spPr>
            <a:xfrm>
              <a:off x="3243946" y="4342191"/>
              <a:ext cx="439716" cy="3828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56" name="Ellipse 55">
              <a:extLst>
                <a:ext uri="{FF2B5EF4-FFF2-40B4-BE49-F238E27FC236}">
                  <a16:creationId xmlns:a16="http://schemas.microsoft.com/office/drawing/2014/main" id="{CBCD9FF1-5800-4873-A54B-F4B0CAEAE822}"/>
                </a:ext>
              </a:extLst>
            </p:cNvPr>
            <p:cNvSpPr/>
            <p:nvPr/>
          </p:nvSpPr>
          <p:spPr>
            <a:xfrm rot="15281501">
              <a:off x="4521108" y="2911920"/>
              <a:ext cx="352869" cy="19800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57" name="Ellipse 56">
              <a:extLst>
                <a:ext uri="{FF2B5EF4-FFF2-40B4-BE49-F238E27FC236}">
                  <a16:creationId xmlns:a16="http://schemas.microsoft.com/office/drawing/2014/main" id="{EC691118-A8AE-4707-89DF-A4B0D433741C}"/>
                </a:ext>
              </a:extLst>
            </p:cNvPr>
            <p:cNvSpPr/>
            <p:nvPr/>
          </p:nvSpPr>
          <p:spPr>
            <a:xfrm rot="5638516">
              <a:off x="4501399" y="4136277"/>
              <a:ext cx="352869" cy="18766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prstClr val="white"/>
                </a:solidFill>
              </a:endParaRPr>
            </a:p>
          </p:txBody>
        </p:sp>
      </p:grpSp>
      <p:pic>
        <p:nvPicPr>
          <p:cNvPr id="67" name="Picture 2" descr="http://www.gampmedia.com/wp-content/gallery/what-is-reputation-management/what_is_reputation_management.jpg">
            <a:extLst>
              <a:ext uri="{FF2B5EF4-FFF2-40B4-BE49-F238E27FC236}">
                <a16:creationId xmlns:a16="http://schemas.microsoft.com/office/drawing/2014/main" id="{01443752-C4E3-47FF-A662-3ACA7035AF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rgbClr val="003359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5878" y="2045551"/>
            <a:ext cx="1124415" cy="749985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3B20DE58-931F-46B1-A361-BA05330D0F03}"/>
              </a:ext>
            </a:extLst>
          </p:cNvPr>
          <p:cNvSpPr/>
          <p:nvPr/>
        </p:nvSpPr>
        <p:spPr>
          <a:xfrm>
            <a:off x="9486578" y="1861721"/>
            <a:ext cx="1080000" cy="1080000"/>
          </a:xfrm>
          <a:prstGeom prst="rect">
            <a:avLst/>
          </a:prstGeom>
          <a:noFill/>
          <a:ln w="19050">
            <a:solidFill>
              <a:srgbClr val="2F4B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34C3D30-DAAD-4E5E-ADBB-E04B796C111B}"/>
              </a:ext>
            </a:extLst>
          </p:cNvPr>
          <p:cNvSpPr/>
          <p:nvPr/>
        </p:nvSpPr>
        <p:spPr>
          <a:xfrm>
            <a:off x="10628853" y="1861721"/>
            <a:ext cx="453428" cy="1080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304C69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68AA6186-3E37-4ECB-84E2-F571DF105567}"/>
              </a:ext>
            </a:extLst>
          </p:cNvPr>
          <p:cNvSpPr/>
          <p:nvPr/>
        </p:nvSpPr>
        <p:spPr>
          <a:xfrm flipH="1">
            <a:off x="8970853" y="1861721"/>
            <a:ext cx="453428" cy="1080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304C69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72E18334-5F89-4738-AFA6-E0EEC8EC9BC6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9641522" y="4829653"/>
            <a:ext cx="720000" cy="455543"/>
            <a:chOff x="1155203" y="1017198"/>
            <a:chExt cx="637963" cy="403638"/>
          </a:xfrm>
        </p:grpSpPr>
        <p:sp>
          <p:nvSpPr>
            <p:cNvPr id="71" name="Flussdiagramm: Alternativer Prozess 70">
              <a:extLst>
                <a:ext uri="{FF2B5EF4-FFF2-40B4-BE49-F238E27FC236}">
                  <a16:creationId xmlns:a16="http://schemas.microsoft.com/office/drawing/2014/main" id="{C4C0CC69-169F-4FCA-A0AF-62429CB14085}"/>
                </a:ext>
              </a:extLst>
            </p:cNvPr>
            <p:cNvSpPr/>
            <p:nvPr/>
          </p:nvSpPr>
          <p:spPr>
            <a:xfrm rot="840000">
              <a:off x="1155203" y="1060837"/>
              <a:ext cx="360000" cy="359999"/>
            </a:xfrm>
            <a:prstGeom prst="flowChartAlternateProcess">
              <a:avLst/>
            </a:prstGeom>
            <a:solidFill>
              <a:srgbClr val="304C69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D1F82F5F-7729-4D53-929A-5D8591700447}"/>
                </a:ext>
              </a:extLst>
            </p:cNvPr>
            <p:cNvSpPr/>
            <p:nvPr/>
          </p:nvSpPr>
          <p:spPr>
            <a:xfrm rot="840000">
              <a:off x="1299203" y="1204838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3" name="Flussdiagramm: Alternativer Prozess 72">
              <a:extLst>
                <a:ext uri="{FF2B5EF4-FFF2-40B4-BE49-F238E27FC236}">
                  <a16:creationId xmlns:a16="http://schemas.microsoft.com/office/drawing/2014/main" id="{6943D747-DF39-480F-82AB-9E134D5FAB85}"/>
                </a:ext>
              </a:extLst>
            </p:cNvPr>
            <p:cNvSpPr/>
            <p:nvPr/>
          </p:nvSpPr>
          <p:spPr>
            <a:xfrm rot="20280000">
              <a:off x="1433166" y="1017198"/>
              <a:ext cx="360000" cy="360001"/>
            </a:xfrm>
            <a:prstGeom prst="flowChartAlternateProcess">
              <a:avLst/>
            </a:prstGeom>
            <a:solidFill>
              <a:srgbClr val="304C69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4" name="Ellipse 73">
              <a:extLst>
                <a:ext uri="{FF2B5EF4-FFF2-40B4-BE49-F238E27FC236}">
                  <a16:creationId xmlns:a16="http://schemas.microsoft.com/office/drawing/2014/main" id="{B2A36914-5E95-44F7-96F7-2F75017D22E0}"/>
                </a:ext>
              </a:extLst>
            </p:cNvPr>
            <p:cNvSpPr/>
            <p:nvPr/>
          </p:nvSpPr>
          <p:spPr>
            <a:xfrm rot="20280000">
              <a:off x="1470230" y="1099936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5" name="Ellipse 74">
              <a:extLst>
                <a:ext uri="{FF2B5EF4-FFF2-40B4-BE49-F238E27FC236}">
                  <a16:creationId xmlns:a16="http://schemas.microsoft.com/office/drawing/2014/main" id="{D5F00D21-4B78-4F3E-B21E-CF32FC9D1DB8}"/>
                </a:ext>
              </a:extLst>
            </p:cNvPr>
            <p:cNvSpPr/>
            <p:nvPr/>
          </p:nvSpPr>
          <p:spPr>
            <a:xfrm rot="20280000">
              <a:off x="1542799" y="1279550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6" name="Ellipse 75">
              <a:extLst>
                <a:ext uri="{FF2B5EF4-FFF2-40B4-BE49-F238E27FC236}">
                  <a16:creationId xmlns:a16="http://schemas.microsoft.com/office/drawing/2014/main" id="{BE278C5D-95A8-490E-93F1-5AC9B8B9074C}"/>
                </a:ext>
              </a:extLst>
            </p:cNvPr>
            <p:cNvSpPr/>
            <p:nvPr/>
          </p:nvSpPr>
          <p:spPr>
            <a:xfrm rot="20280000">
              <a:off x="1688518" y="1220676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7" name="Ellipse 76">
              <a:extLst>
                <a:ext uri="{FF2B5EF4-FFF2-40B4-BE49-F238E27FC236}">
                  <a16:creationId xmlns:a16="http://schemas.microsoft.com/office/drawing/2014/main" id="{AE94041E-5C74-4F61-8355-062F303A17D1}"/>
                </a:ext>
              </a:extLst>
            </p:cNvPr>
            <p:cNvSpPr/>
            <p:nvPr/>
          </p:nvSpPr>
          <p:spPr>
            <a:xfrm rot="20280000">
              <a:off x="1615949" y="1041062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8" name="Ellipse 77">
              <a:extLst>
                <a:ext uri="{FF2B5EF4-FFF2-40B4-BE49-F238E27FC236}">
                  <a16:creationId xmlns:a16="http://schemas.microsoft.com/office/drawing/2014/main" id="{58801773-F53C-431D-BE8F-172AB3AC32E4}"/>
                </a:ext>
              </a:extLst>
            </p:cNvPr>
            <p:cNvSpPr/>
            <p:nvPr/>
          </p:nvSpPr>
          <p:spPr>
            <a:xfrm rot="20280000">
              <a:off x="1577166" y="1161198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163726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" name="Grafik 154">
            <a:extLst>
              <a:ext uri="{FF2B5EF4-FFF2-40B4-BE49-F238E27FC236}">
                <a16:creationId xmlns:a16="http://schemas.microsoft.com/office/drawing/2014/main" id="{EEABCF07-55C5-4836-9197-562C6E594B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880" y="3444861"/>
            <a:ext cx="252000" cy="240464"/>
          </a:xfrm>
          <a:prstGeom prst="rect">
            <a:avLst/>
          </a:prstGeom>
        </p:spPr>
      </p:pic>
      <p:pic>
        <p:nvPicPr>
          <p:cNvPr id="143" name="Grafik 142">
            <a:extLst>
              <a:ext uri="{FF2B5EF4-FFF2-40B4-BE49-F238E27FC236}">
                <a16:creationId xmlns:a16="http://schemas.microsoft.com/office/drawing/2014/main" id="{293C1641-25CE-427C-864E-1DFBE22939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2136" y="2381944"/>
            <a:ext cx="215630" cy="205759"/>
          </a:xfrm>
          <a:prstGeom prst="rect">
            <a:avLst/>
          </a:prstGeom>
        </p:spPr>
      </p:pic>
      <p:pic>
        <p:nvPicPr>
          <p:cNvPr id="137" name="Grafik 136">
            <a:extLst>
              <a:ext uri="{FF2B5EF4-FFF2-40B4-BE49-F238E27FC236}">
                <a16:creationId xmlns:a16="http://schemas.microsoft.com/office/drawing/2014/main" id="{4096F31D-1597-42AF-B9DC-BCE8D5EDDBD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267" y="2757342"/>
            <a:ext cx="252000" cy="240464"/>
          </a:xfrm>
          <a:prstGeom prst="rect">
            <a:avLst/>
          </a:prstGeom>
        </p:spPr>
      </p:pic>
      <p:grpSp>
        <p:nvGrpSpPr>
          <p:cNvPr id="129" name="Haushalte"/>
          <p:cNvGrpSpPr/>
          <p:nvPr/>
        </p:nvGrpSpPr>
        <p:grpSpPr>
          <a:xfrm>
            <a:off x="4836269" y="2746831"/>
            <a:ext cx="3270292" cy="2705441"/>
            <a:chOff x="4836269" y="2746831"/>
            <a:chExt cx="3270292" cy="2705441"/>
          </a:xfrm>
        </p:grpSpPr>
        <p:cxnSp>
          <p:nvCxnSpPr>
            <p:cNvPr id="6" name="Gewinkelte Verbindung 124"/>
            <p:cNvCxnSpPr/>
            <p:nvPr/>
          </p:nvCxnSpPr>
          <p:spPr>
            <a:xfrm rot="5400000" flipH="1" flipV="1">
              <a:off x="7219426" y="3458753"/>
              <a:ext cx="182588" cy="89436"/>
            </a:xfrm>
            <a:prstGeom prst="bentConnector3">
              <a:avLst>
                <a:gd name="adj1" fmla="val -2415"/>
              </a:avLst>
            </a:prstGeom>
            <a:ln w="19050">
              <a:solidFill>
                <a:srgbClr val="356C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22"/>
            <p:cNvCxnSpPr/>
            <p:nvPr/>
          </p:nvCxnSpPr>
          <p:spPr>
            <a:xfrm flipV="1">
              <a:off x="7845717" y="3111707"/>
              <a:ext cx="81585" cy="1"/>
            </a:xfrm>
            <a:prstGeom prst="line">
              <a:avLst/>
            </a:prstGeom>
            <a:ln w="19050">
              <a:solidFill>
                <a:srgbClr val="356C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163"/>
            <p:cNvCxnSpPr/>
            <p:nvPr/>
          </p:nvCxnSpPr>
          <p:spPr>
            <a:xfrm>
              <a:off x="6368798" y="3902046"/>
              <a:ext cx="1" cy="53539"/>
            </a:xfrm>
            <a:prstGeom prst="line">
              <a:avLst/>
            </a:prstGeom>
            <a:ln w="19050">
              <a:solidFill>
                <a:srgbClr val="356C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1753" y="4578209"/>
              <a:ext cx="179259" cy="187439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8152" y="4024000"/>
              <a:ext cx="179259" cy="187439"/>
            </a:xfrm>
            <a:prstGeom prst="rect">
              <a:avLst/>
            </a:prstGeom>
          </p:spPr>
        </p:pic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97700" y="3224738"/>
              <a:ext cx="179259" cy="187439"/>
            </a:xfrm>
            <a:prstGeom prst="rect">
              <a:avLst/>
            </a:prstGeom>
          </p:spPr>
        </p:pic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09750" y="3460909"/>
              <a:ext cx="179259" cy="187439"/>
            </a:xfrm>
            <a:prstGeom prst="rect">
              <a:avLst/>
            </a:prstGeom>
          </p:spPr>
        </p:pic>
        <p:pic>
          <p:nvPicPr>
            <p:cNvPr id="25" name="Grafik 2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10219" y="2981721"/>
              <a:ext cx="179259" cy="187439"/>
            </a:xfrm>
            <a:prstGeom prst="rect">
              <a:avLst/>
            </a:prstGeom>
          </p:spPr>
        </p:pic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19736" y="3008473"/>
              <a:ext cx="179259" cy="187439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4300" y="3060245"/>
              <a:ext cx="179259" cy="187439"/>
            </a:xfrm>
            <a:prstGeom prst="rect">
              <a:avLst/>
            </a:prstGeom>
          </p:spPr>
        </p:pic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73042" y="5264833"/>
              <a:ext cx="179259" cy="187439"/>
            </a:xfrm>
            <a:prstGeom prst="rect">
              <a:avLst/>
            </a:prstGeom>
          </p:spPr>
        </p:pic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27302" y="4210434"/>
              <a:ext cx="179259" cy="187439"/>
            </a:xfrm>
            <a:prstGeom prst="rect">
              <a:avLst/>
            </a:prstGeom>
          </p:spPr>
        </p:pic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27302" y="4494349"/>
              <a:ext cx="179259" cy="187439"/>
            </a:xfrm>
            <a:prstGeom prst="rect">
              <a:avLst/>
            </a:prstGeom>
          </p:spPr>
        </p:pic>
        <p:pic>
          <p:nvPicPr>
            <p:cNvPr id="31" name="Grafik 3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61371" y="4265395"/>
              <a:ext cx="168793" cy="309805"/>
            </a:xfrm>
            <a:prstGeom prst="rect">
              <a:avLst/>
            </a:prstGeom>
          </p:spPr>
        </p:pic>
        <p:pic>
          <p:nvPicPr>
            <p:cNvPr id="39" name="Grafik 3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3608" y="4684472"/>
              <a:ext cx="168793" cy="309805"/>
            </a:xfrm>
            <a:prstGeom prst="rect">
              <a:avLst/>
            </a:prstGeom>
          </p:spPr>
        </p:pic>
        <p:pic>
          <p:nvPicPr>
            <p:cNvPr id="41" name="Grafik 4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07900" y="4578209"/>
              <a:ext cx="179259" cy="187439"/>
            </a:xfrm>
            <a:prstGeom prst="rect">
              <a:avLst/>
            </a:prstGeom>
          </p:spPr>
        </p:pic>
        <p:pic>
          <p:nvPicPr>
            <p:cNvPr id="49" name="Grafik 4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25659" y="3930157"/>
              <a:ext cx="179259" cy="187439"/>
            </a:xfrm>
            <a:prstGeom prst="rect">
              <a:avLst/>
            </a:prstGeom>
          </p:spPr>
        </p:pic>
        <p:pic>
          <p:nvPicPr>
            <p:cNvPr id="82" name="Grafik 8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06873" y="3227786"/>
              <a:ext cx="179259" cy="187439"/>
            </a:xfrm>
            <a:prstGeom prst="rect">
              <a:avLst/>
            </a:prstGeom>
          </p:spPr>
        </p:pic>
        <p:pic>
          <p:nvPicPr>
            <p:cNvPr id="108" name="Grafik 10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6269" y="3405873"/>
              <a:ext cx="179259" cy="187439"/>
            </a:xfrm>
            <a:prstGeom prst="rect">
              <a:avLst/>
            </a:prstGeom>
          </p:spPr>
        </p:pic>
        <p:pic>
          <p:nvPicPr>
            <p:cNvPr id="110" name="Grafik 10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79168" y="3694211"/>
              <a:ext cx="179259" cy="187439"/>
            </a:xfrm>
            <a:prstGeom prst="rect">
              <a:avLst/>
            </a:prstGeom>
          </p:spPr>
        </p:pic>
        <p:pic>
          <p:nvPicPr>
            <p:cNvPr id="37" name="Grafik 3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46497" y="2877859"/>
              <a:ext cx="179259" cy="187439"/>
            </a:xfrm>
            <a:prstGeom prst="rect">
              <a:avLst/>
            </a:prstGeom>
          </p:spPr>
        </p:pic>
        <p:cxnSp>
          <p:nvCxnSpPr>
            <p:cNvPr id="55" name="Gerade Verbindung 112"/>
            <p:cNvCxnSpPr/>
            <p:nvPr/>
          </p:nvCxnSpPr>
          <p:spPr>
            <a:xfrm flipH="1">
              <a:off x="7856553" y="4054576"/>
              <a:ext cx="98741" cy="1265"/>
            </a:xfrm>
            <a:prstGeom prst="line">
              <a:avLst/>
            </a:prstGeom>
            <a:ln w="19050">
              <a:solidFill>
                <a:srgbClr val="356C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winkelte Verbindung 123"/>
            <p:cNvCxnSpPr/>
            <p:nvPr/>
          </p:nvCxnSpPr>
          <p:spPr>
            <a:xfrm rot="5400000" flipH="1" flipV="1">
              <a:off x="7378107" y="2861356"/>
              <a:ext cx="364876" cy="135826"/>
            </a:xfrm>
            <a:prstGeom prst="bentConnector3">
              <a:avLst>
                <a:gd name="adj1" fmla="val 174"/>
              </a:avLst>
            </a:prstGeom>
            <a:ln w="19050">
              <a:solidFill>
                <a:srgbClr val="356C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winkelte Verbindung 125"/>
            <p:cNvCxnSpPr/>
            <p:nvPr/>
          </p:nvCxnSpPr>
          <p:spPr>
            <a:xfrm>
              <a:off x="7102234" y="3005944"/>
              <a:ext cx="145196" cy="136994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356C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30"/>
            <p:cNvCxnSpPr/>
            <p:nvPr/>
          </p:nvCxnSpPr>
          <p:spPr>
            <a:xfrm flipH="1">
              <a:off x="5908716" y="3346915"/>
              <a:ext cx="106715" cy="1"/>
            </a:xfrm>
            <a:prstGeom prst="line">
              <a:avLst/>
            </a:prstGeom>
            <a:ln w="19050">
              <a:solidFill>
                <a:srgbClr val="356C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winkelte Verbindung 135"/>
            <p:cNvCxnSpPr/>
            <p:nvPr/>
          </p:nvCxnSpPr>
          <p:spPr>
            <a:xfrm rot="10800000" flipV="1">
              <a:off x="5048843" y="3355445"/>
              <a:ext cx="76793" cy="170930"/>
            </a:xfrm>
            <a:prstGeom prst="bentConnector2">
              <a:avLst/>
            </a:prstGeom>
            <a:ln w="19050">
              <a:solidFill>
                <a:srgbClr val="356C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136"/>
            <p:cNvCxnSpPr/>
            <p:nvPr/>
          </p:nvCxnSpPr>
          <p:spPr>
            <a:xfrm flipH="1">
              <a:off x="5787315" y="3196030"/>
              <a:ext cx="119943" cy="1500"/>
            </a:xfrm>
            <a:prstGeom prst="line">
              <a:avLst/>
            </a:prstGeom>
            <a:ln w="19050">
              <a:solidFill>
                <a:srgbClr val="356C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155"/>
            <p:cNvCxnSpPr/>
            <p:nvPr/>
          </p:nvCxnSpPr>
          <p:spPr>
            <a:xfrm flipH="1">
              <a:off x="6642381" y="4169245"/>
              <a:ext cx="119943" cy="1500"/>
            </a:xfrm>
            <a:prstGeom prst="line">
              <a:avLst/>
            </a:prstGeom>
            <a:ln w="19050">
              <a:solidFill>
                <a:srgbClr val="356C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159"/>
            <p:cNvCxnSpPr/>
            <p:nvPr/>
          </p:nvCxnSpPr>
          <p:spPr>
            <a:xfrm flipH="1">
              <a:off x="6271013" y="4692049"/>
              <a:ext cx="324642" cy="1"/>
            </a:xfrm>
            <a:prstGeom prst="line">
              <a:avLst/>
            </a:prstGeom>
            <a:ln w="19050">
              <a:solidFill>
                <a:srgbClr val="356C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161"/>
            <p:cNvCxnSpPr/>
            <p:nvPr/>
          </p:nvCxnSpPr>
          <p:spPr>
            <a:xfrm flipH="1">
              <a:off x="6053583" y="4247737"/>
              <a:ext cx="98741" cy="1265"/>
            </a:xfrm>
            <a:prstGeom prst="line">
              <a:avLst/>
            </a:prstGeom>
            <a:ln w="19050">
              <a:solidFill>
                <a:srgbClr val="356C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169"/>
            <p:cNvCxnSpPr/>
            <p:nvPr/>
          </p:nvCxnSpPr>
          <p:spPr>
            <a:xfrm flipH="1">
              <a:off x="7165248" y="4879395"/>
              <a:ext cx="98741" cy="1265"/>
            </a:xfrm>
            <a:prstGeom prst="line">
              <a:avLst/>
            </a:prstGeom>
            <a:ln w="19050">
              <a:solidFill>
                <a:srgbClr val="356C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190"/>
            <p:cNvCxnSpPr/>
            <p:nvPr/>
          </p:nvCxnSpPr>
          <p:spPr>
            <a:xfrm flipH="1">
              <a:off x="7852311" y="4348450"/>
              <a:ext cx="98741" cy="1265"/>
            </a:xfrm>
            <a:prstGeom prst="line">
              <a:avLst/>
            </a:prstGeom>
            <a:ln w="19050">
              <a:solidFill>
                <a:srgbClr val="356C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191"/>
            <p:cNvCxnSpPr/>
            <p:nvPr/>
          </p:nvCxnSpPr>
          <p:spPr>
            <a:xfrm flipH="1">
              <a:off x="7845717" y="4624583"/>
              <a:ext cx="98741" cy="1265"/>
            </a:xfrm>
            <a:prstGeom prst="line">
              <a:avLst/>
            </a:prstGeom>
            <a:ln w="19050">
              <a:solidFill>
                <a:srgbClr val="356C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ridSim</a:t>
            </a:r>
            <a:r>
              <a:rPr lang="de-DE" dirty="0"/>
              <a:t> – Übersich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2000" dirty="0"/>
              <a:t>Kombiniertes Simulationsmodell zur Bestimmung der Netzzustände durch phasenscharfe Lastflussberechnungen und Energiesystemmodell für Verteilnetz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A989E3-AE74-4E67-83E2-3A01BDA6C6B0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12" name="Ellipse 11"/>
          <p:cNvSpPr/>
          <p:nvPr/>
        </p:nvSpPr>
        <p:spPr>
          <a:xfrm>
            <a:off x="6544881" y="1642999"/>
            <a:ext cx="183418" cy="206091"/>
          </a:xfrm>
          <a:prstGeom prst="ellipse">
            <a:avLst/>
          </a:prstGeom>
          <a:noFill/>
          <a:ln w="15875">
            <a:solidFill>
              <a:srgbClr val="777777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85142" tIns="42571" rIns="85142" bIns="42571" rtlCol="0" anchor="ctr"/>
          <a:lstStyle/>
          <a:p>
            <a:pPr algn="ctr" defTabSz="891917"/>
            <a:endParaRPr lang="de-DE" sz="1112" dirty="0">
              <a:solidFill>
                <a:prstClr val="black"/>
              </a:solidFill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6544881" y="1751430"/>
            <a:ext cx="183418" cy="206091"/>
          </a:xfrm>
          <a:prstGeom prst="ellipse">
            <a:avLst/>
          </a:prstGeom>
          <a:noFill/>
          <a:ln w="15875">
            <a:solidFill>
              <a:srgbClr val="356CA5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85142" tIns="42571" rIns="85142" bIns="42571" rtlCol="0" anchor="ctr"/>
          <a:lstStyle/>
          <a:p>
            <a:pPr algn="ctr" defTabSz="891917"/>
            <a:endParaRPr lang="de-DE" sz="1112" dirty="0">
              <a:solidFill>
                <a:prstClr val="black"/>
              </a:solidFill>
            </a:endParaRPr>
          </a:p>
        </p:txBody>
      </p:sp>
      <p:cxnSp>
        <p:nvCxnSpPr>
          <p:cNvPr id="14" name="Gerade Verbindung 115"/>
          <p:cNvCxnSpPr/>
          <p:nvPr/>
        </p:nvCxnSpPr>
        <p:spPr>
          <a:xfrm flipH="1" flipV="1">
            <a:off x="6630848" y="1397041"/>
            <a:ext cx="3027" cy="245960"/>
          </a:xfrm>
          <a:prstGeom prst="line">
            <a:avLst/>
          </a:prstGeom>
          <a:ln w="19050">
            <a:solidFill>
              <a:srgbClr val="7777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175"/>
          <p:cNvCxnSpPr/>
          <p:nvPr/>
        </p:nvCxnSpPr>
        <p:spPr>
          <a:xfrm flipH="1">
            <a:off x="6489291" y="4431710"/>
            <a:ext cx="1" cy="248704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116"/>
          <p:cNvCxnSpPr/>
          <p:nvPr/>
        </p:nvCxnSpPr>
        <p:spPr>
          <a:xfrm flipH="1" flipV="1">
            <a:off x="6630848" y="1957523"/>
            <a:ext cx="6150" cy="381556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119"/>
          <p:cNvCxnSpPr/>
          <p:nvPr/>
        </p:nvCxnSpPr>
        <p:spPr>
          <a:xfrm flipV="1">
            <a:off x="7252301" y="2746438"/>
            <a:ext cx="597911" cy="391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winkelte Verbindung 120"/>
          <p:cNvCxnSpPr/>
          <p:nvPr/>
        </p:nvCxnSpPr>
        <p:spPr>
          <a:xfrm rot="16200000" flipH="1">
            <a:off x="7203775" y="3142642"/>
            <a:ext cx="303326" cy="219668"/>
          </a:xfrm>
          <a:prstGeom prst="bentConnector2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127"/>
          <p:cNvCxnSpPr/>
          <p:nvPr/>
        </p:nvCxnSpPr>
        <p:spPr>
          <a:xfrm flipV="1">
            <a:off x="7245985" y="2328774"/>
            <a:ext cx="3095" cy="780193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128"/>
          <p:cNvCxnSpPr/>
          <p:nvPr/>
        </p:nvCxnSpPr>
        <p:spPr>
          <a:xfrm flipV="1">
            <a:off x="6232338" y="2328643"/>
            <a:ext cx="2287" cy="733595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winkelte Verbindung 129"/>
          <p:cNvCxnSpPr/>
          <p:nvPr/>
        </p:nvCxnSpPr>
        <p:spPr>
          <a:xfrm flipV="1">
            <a:off x="5435142" y="3055126"/>
            <a:ext cx="794996" cy="473388"/>
          </a:xfrm>
          <a:prstGeom prst="bentConnector3">
            <a:avLst>
              <a:gd name="adj1" fmla="val 59477"/>
            </a:avLst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138"/>
          <p:cNvCxnSpPr/>
          <p:nvPr/>
        </p:nvCxnSpPr>
        <p:spPr>
          <a:xfrm>
            <a:off x="7449192" y="3404139"/>
            <a:ext cx="406952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150"/>
          <p:cNvCxnSpPr/>
          <p:nvPr/>
        </p:nvCxnSpPr>
        <p:spPr>
          <a:xfrm flipH="1" flipV="1">
            <a:off x="6636633" y="2328774"/>
            <a:ext cx="2" cy="1631374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winkelte Verbindung 152"/>
          <p:cNvCxnSpPr/>
          <p:nvPr/>
        </p:nvCxnSpPr>
        <p:spPr>
          <a:xfrm flipV="1">
            <a:off x="5830163" y="3960147"/>
            <a:ext cx="813496" cy="471316"/>
          </a:xfrm>
          <a:prstGeom prst="bentConnector3">
            <a:avLst>
              <a:gd name="adj1" fmla="val 39347"/>
            </a:avLst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winkelte Verbindung 153"/>
          <p:cNvCxnSpPr/>
          <p:nvPr/>
        </p:nvCxnSpPr>
        <p:spPr>
          <a:xfrm rot="16200000" flipH="1">
            <a:off x="6250724" y="4346505"/>
            <a:ext cx="1295407" cy="523586"/>
          </a:xfrm>
          <a:prstGeom prst="bentConnector3">
            <a:avLst>
              <a:gd name="adj1" fmla="val 27225"/>
            </a:avLst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172"/>
          <p:cNvCxnSpPr/>
          <p:nvPr/>
        </p:nvCxnSpPr>
        <p:spPr>
          <a:xfrm flipH="1" flipV="1">
            <a:off x="6153050" y="4431216"/>
            <a:ext cx="340684" cy="247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189"/>
          <p:cNvCxnSpPr/>
          <p:nvPr/>
        </p:nvCxnSpPr>
        <p:spPr>
          <a:xfrm flipH="1" flipV="1">
            <a:off x="7845717" y="2746438"/>
            <a:ext cx="0" cy="1883386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194"/>
          <p:cNvCxnSpPr/>
          <p:nvPr/>
        </p:nvCxnSpPr>
        <p:spPr>
          <a:xfrm flipV="1">
            <a:off x="6230138" y="2326261"/>
            <a:ext cx="1025059" cy="2382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Regelbare Komponenten"/>
          <p:cNvGrpSpPr/>
          <p:nvPr/>
        </p:nvGrpSpPr>
        <p:grpSpPr>
          <a:xfrm>
            <a:off x="5016070" y="1643001"/>
            <a:ext cx="2258973" cy="2214560"/>
            <a:chOff x="5016070" y="1643001"/>
            <a:chExt cx="2258973" cy="2214560"/>
          </a:xfrm>
        </p:grpSpPr>
        <p:cxnSp>
          <p:nvCxnSpPr>
            <p:cNvPr id="15" name="Gerade Verbindung mit Pfeil 14"/>
            <p:cNvCxnSpPr/>
            <p:nvPr/>
          </p:nvCxnSpPr>
          <p:spPr>
            <a:xfrm flipV="1">
              <a:off x="6544880" y="1643001"/>
              <a:ext cx="217443" cy="314523"/>
            </a:xfrm>
            <a:prstGeom prst="straightConnector1">
              <a:avLst/>
            </a:prstGeom>
            <a:ln w="22225">
              <a:solidFill>
                <a:srgbClr val="EC930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Ellipse 16"/>
            <p:cNvSpPr/>
            <p:nvPr/>
          </p:nvSpPr>
          <p:spPr>
            <a:xfrm rot="16200000">
              <a:off x="5195835" y="3454635"/>
              <a:ext cx="147193" cy="147758"/>
            </a:xfrm>
            <a:prstGeom prst="ellipse">
              <a:avLst/>
            </a:prstGeom>
            <a:noFill/>
            <a:ln w="15875">
              <a:solidFill>
                <a:srgbClr val="356CA5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85142" tIns="42571" rIns="85142" bIns="42571" rtlCol="0" anchor="ctr"/>
            <a:lstStyle/>
            <a:p>
              <a:pPr algn="ctr" defTabSz="891917"/>
              <a:endParaRPr lang="de-DE" sz="1112" dirty="0">
                <a:solidFill>
                  <a:prstClr val="black"/>
                </a:solidFill>
              </a:endParaRPr>
            </a:p>
          </p:txBody>
        </p:sp>
        <p:sp>
          <p:nvSpPr>
            <p:cNvPr id="18" name="Ellipse 17"/>
            <p:cNvSpPr/>
            <p:nvPr/>
          </p:nvSpPr>
          <p:spPr>
            <a:xfrm rot="16200000">
              <a:off x="5287880" y="3454849"/>
              <a:ext cx="147193" cy="147330"/>
            </a:xfrm>
            <a:prstGeom prst="ellipse">
              <a:avLst/>
            </a:prstGeom>
            <a:noFill/>
            <a:ln w="15875">
              <a:solidFill>
                <a:srgbClr val="356CA5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85142" tIns="42571" rIns="85142" bIns="42571" rtlCol="0" anchor="ctr"/>
            <a:lstStyle/>
            <a:p>
              <a:pPr algn="ctr" defTabSz="891917"/>
              <a:endParaRPr lang="de-DE" sz="1112" dirty="0">
                <a:solidFill>
                  <a:prstClr val="black"/>
                </a:solidFill>
              </a:endParaRPr>
            </a:p>
          </p:txBody>
        </p:sp>
        <p:cxnSp>
          <p:nvCxnSpPr>
            <p:cNvPr id="19" name="Gerade Verbindung mit Pfeil 18"/>
            <p:cNvCxnSpPr/>
            <p:nvPr/>
          </p:nvCxnSpPr>
          <p:spPr>
            <a:xfrm flipV="1">
              <a:off x="5254973" y="3384362"/>
              <a:ext cx="148499" cy="248006"/>
            </a:xfrm>
            <a:prstGeom prst="straightConnector1">
              <a:avLst/>
            </a:prstGeom>
            <a:ln w="15875">
              <a:solidFill>
                <a:srgbClr val="356CA5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feld 22"/>
            <p:cNvSpPr txBox="1"/>
            <p:nvPr/>
          </p:nvSpPr>
          <p:spPr>
            <a:xfrm>
              <a:off x="5016070" y="3613724"/>
              <a:ext cx="591243" cy="243837"/>
            </a:xfrm>
            <a:prstGeom prst="rect">
              <a:avLst/>
            </a:prstGeom>
            <a:noFill/>
          </p:spPr>
          <p:txBody>
            <a:bodyPr wrap="square" lIns="85142" tIns="42571" rIns="85142" bIns="42571" rtlCol="0">
              <a:spAutoFit/>
            </a:bodyPr>
            <a:lstStyle/>
            <a:p>
              <a:pPr algn="ctr" defTabSz="891917"/>
              <a:r>
                <a:rPr lang="de-DE" sz="1026" dirty="0">
                  <a:solidFill>
                    <a:prstClr val="black"/>
                  </a:solidFill>
                </a:rPr>
                <a:t>LVR</a:t>
              </a:r>
            </a:p>
          </p:txBody>
        </p:sp>
        <p:sp>
          <p:nvSpPr>
            <p:cNvPr id="83" name="Textfeld 82"/>
            <p:cNvSpPr txBox="1"/>
            <p:nvPr/>
          </p:nvSpPr>
          <p:spPr>
            <a:xfrm>
              <a:off x="6683800" y="1676938"/>
              <a:ext cx="591243" cy="243837"/>
            </a:xfrm>
            <a:prstGeom prst="rect">
              <a:avLst/>
            </a:prstGeom>
            <a:noFill/>
          </p:spPr>
          <p:txBody>
            <a:bodyPr wrap="square" lIns="85142" tIns="42571" rIns="85142" bIns="42571" rtlCol="0">
              <a:spAutoFit/>
            </a:bodyPr>
            <a:lstStyle/>
            <a:p>
              <a:pPr algn="ctr" defTabSz="891917"/>
              <a:r>
                <a:rPr lang="de-DE" sz="1026" dirty="0" err="1">
                  <a:solidFill>
                    <a:prstClr val="black"/>
                  </a:solidFill>
                </a:rPr>
                <a:t>rONT</a:t>
              </a:r>
              <a:endParaRPr lang="de-DE" sz="1026" dirty="0">
                <a:solidFill>
                  <a:prstClr val="black"/>
                </a:solidFill>
              </a:endParaRPr>
            </a:p>
          </p:txBody>
        </p:sp>
      </p:grpSp>
      <p:sp>
        <p:nvSpPr>
          <p:cNvPr id="84" name="Abgerundetes Rechteck 83"/>
          <p:cNvSpPr/>
          <p:nvPr/>
        </p:nvSpPr>
        <p:spPr>
          <a:xfrm>
            <a:off x="4416760" y="1335466"/>
            <a:ext cx="4063919" cy="4187069"/>
          </a:xfrm>
          <a:prstGeom prst="roundRect">
            <a:avLst/>
          </a:prstGeom>
          <a:noFill/>
          <a:ln>
            <a:solidFill>
              <a:srgbClr val="7777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142" tIns="42571" rIns="85142" bIns="42571" rtlCol="0" anchor="ctr"/>
          <a:lstStyle/>
          <a:p>
            <a:pPr algn="ctr" defTabSz="891917"/>
            <a:endParaRPr lang="de-DE" sz="1539">
              <a:solidFill>
                <a:prstClr val="white"/>
              </a:solidFill>
            </a:endParaRPr>
          </a:p>
        </p:txBody>
      </p:sp>
      <p:sp>
        <p:nvSpPr>
          <p:cNvPr id="85" name="Textfeld 84"/>
          <p:cNvSpPr txBox="1"/>
          <p:nvPr/>
        </p:nvSpPr>
        <p:spPr>
          <a:xfrm>
            <a:off x="4678843" y="5276237"/>
            <a:ext cx="2262473" cy="217548"/>
          </a:xfrm>
          <a:prstGeom prst="rect">
            <a:avLst/>
          </a:prstGeom>
          <a:noFill/>
        </p:spPr>
        <p:txBody>
          <a:bodyPr wrap="square" lIns="85142" tIns="42571" rIns="85142" bIns="42571" rtlCol="0">
            <a:spAutoFit/>
          </a:bodyPr>
          <a:lstStyle/>
          <a:p>
            <a:pPr algn="ctr" defTabSz="891917"/>
            <a:r>
              <a:rPr lang="de-DE" sz="855" dirty="0">
                <a:solidFill>
                  <a:prstClr val="black"/>
                </a:solidFill>
              </a:rPr>
              <a:t>Netzgebiet (NS und/oder MS-Ebene)</a:t>
            </a:r>
          </a:p>
        </p:txBody>
      </p:sp>
      <p:sp>
        <p:nvSpPr>
          <p:cNvPr id="86" name="Textframe 3"/>
          <p:cNvSpPr txBox="1"/>
          <p:nvPr/>
        </p:nvSpPr>
        <p:spPr>
          <a:xfrm>
            <a:off x="1476731" y="1794241"/>
            <a:ext cx="2239488" cy="329462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2346" tIns="0" rIns="0" bIns="0" rtlCol="0">
            <a:spAutoFit/>
          </a:bodyPr>
          <a:lstStyle/>
          <a:p>
            <a:pPr defTabSz="891917">
              <a:lnSpc>
                <a:spcPct val="120000"/>
              </a:lnSpc>
              <a:spcBef>
                <a:spcPts val="373"/>
              </a:spcBef>
              <a:buSzPct val="100000"/>
            </a:pPr>
            <a:r>
              <a:rPr lang="de-DE" sz="1283" dirty="0">
                <a:solidFill>
                  <a:prstClr val="black"/>
                </a:solidFill>
                <a:cs typeface="Arial Narrow" pitchFamily="34" charset="0"/>
              </a:rPr>
              <a:t>Haushaltslasten (3-phasig)</a:t>
            </a:r>
          </a:p>
          <a:p>
            <a:pPr defTabSz="891917">
              <a:lnSpc>
                <a:spcPct val="120000"/>
              </a:lnSpc>
              <a:spcBef>
                <a:spcPts val="373"/>
              </a:spcBef>
              <a:buSzPct val="100000"/>
            </a:pPr>
            <a:r>
              <a:rPr lang="de-DE" sz="1283" dirty="0">
                <a:solidFill>
                  <a:schemeClr val="tx1"/>
                </a:solidFill>
                <a:cs typeface="Arial Narrow" pitchFamily="34" charset="0"/>
              </a:rPr>
              <a:t>GHD/RLM-Lasten</a:t>
            </a:r>
          </a:p>
          <a:p>
            <a:pPr defTabSz="891917">
              <a:lnSpc>
                <a:spcPct val="120000"/>
              </a:lnSpc>
              <a:spcBef>
                <a:spcPts val="373"/>
              </a:spcBef>
              <a:buSzPct val="100000"/>
            </a:pPr>
            <a:r>
              <a:rPr lang="de-DE" sz="1283" dirty="0">
                <a:solidFill>
                  <a:prstClr val="black"/>
                </a:solidFill>
                <a:cs typeface="Arial Narrow" pitchFamily="34" charset="0"/>
              </a:rPr>
              <a:t>PV-Anlagen </a:t>
            </a:r>
          </a:p>
          <a:p>
            <a:pPr defTabSz="891917">
              <a:spcBef>
                <a:spcPts val="373"/>
              </a:spcBef>
              <a:buSzPct val="100000"/>
            </a:pPr>
            <a:r>
              <a:rPr lang="de-DE" sz="1283" dirty="0">
                <a:solidFill>
                  <a:prstClr val="black"/>
                </a:solidFill>
                <a:cs typeface="Arial Narrow" pitchFamily="34" charset="0"/>
              </a:rPr>
              <a:t>Hausspeicher</a:t>
            </a:r>
          </a:p>
          <a:p>
            <a:pPr defTabSz="891917">
              <a:lnSpc>
                <a:spcPct val="120000"/>
              </a:lnSpc>
              <a:spcBef>
                <a:spcPts val="373"/>
              </a:spcBef>
              <a:buSzPct val="100000"/>
            </a:pPr>
            <a:r>
              <a:rPr lang="de-DE" sz="1283" dirty="0">
                <a:solidFill>
                  <a:prstClr val="black"/>
                </a:solidFill>
                <a:cs typeface="Arial Narrow" pitchFamily="34" charset="0"/>
              </a:rPr>
              <a:t>Quartierspeicher</a:t>
            </a:r>
          </a:p>
          <a:p>
            <a:pPr defTabSz="891917">
              <a:lnSpc>
                <a:spcPct val="120000"/>
              </a:lnSpc>
              <a:spcBef>
                <a:spcPts val="373"/>
              </a:spcBef>
              <a:buSzPct val="100000"/>
            </a:pPr>
            <a:r>
              <a:rPr lang="de-DE" sz="1283" dirty="0">
                <a:solidFill>
                  <a:prstClr val="black"/>
                </a:solidFill>
                <a:cs typeface="Arial Narrow" pitchFamily="34" charset="0"/>
              </a:rPr>
              <a:t>Power-</a:t>
            </a:r>
            <a:r>
              <a:rPr lang="de-DE" sz="1283" dirty="0" err="1">
                <a:solidFill>
                  <a:prstClr val="black"/>
                </a:solidFill>
                <a:cs typeface="Arial Narrow" pitchFamily="34" charset="0"/>
              </a:rPr>
              <a:t>to</a:t>
            </a:r>
            <a:r>
              <a:rPr lang="de-DE" sz="1283" dirty="0">
                <a:solidFill>
                  <a:prstClr val="black"/>
                </a:solidFill>
                <a:cs typeface="Arial Narrow" pitchFamily="34" charset="0"/>
              </a:rPr>
              <a:t>-</a:t>
            </a:r>
            <a:r>
              <a:rPr lang="de-DE" sz="1283" dirty="0" err="1">
                <a:solidFill>
                  <a:prstClr val="black"/>
                </a:solidFill>
                <a:cs typeface="Arial Narrow" pitchFamily="34" charset="0"/>
              </a:rPr>
              <a:t>Heat</a:t>
            </a:r>
            <a:r>
              <a:rPr lang="de-DE" sz="1283" dirty="0">
                <a:solidFill>
                  <a:prstClr val="black"/>
                </a:solidFill>
                <a:cs typeface="Arial Narrow" pitchFamily="34" charset="0"/>
              </a:rPr>
              <a:t>-Anlagen</a:t>
            </a:r>
          </a:p>
          <a:p>
            <a:pPr defTabSz="891917">
              <a:lnSpc>
                <a:spcPct val="120000"/>
              </a:lnSpc>
              <a:spcBef>
                <a:spcPts val="373"/>
              </a:spcBef>
              <a:buSzPct val="100000"/>
            </a:pPr>
            <a:r>
              <a:rPr lang="de-DE" sz="1283" dirty="0">
                <a:solidFill>
                  <a:prstClr val="black"/>
                </a:solidFill>
                <a:cs typeface="Arial Narrow" pitchFamily="34" charset="0"/>
              </a:rPr>
              <a:t>Elektrofahrzeuge</a:t>
            </a:r>
          </a:p>
          <a:p>
            <a:pPr>
              <a:lnSpc>
                <a:spcPct val="120000"/>
              </a:lnSpc>
              <a:spcBef>
                <a:spcPts val="373"/>
              </a:spcBef>
              <a:buSzPct val="100000"/>
            </a:pPr>
            <a:r>
              <a:rPr lang="de-DE" sz="1283" dirty="0">
                <a:solidFill>
                  <a:prstClr val="black"/>
                </a:solidFill>
                <a:cs typeface="Arial Narrow" pitchFamily="34" charset="0"/>
              </a:rPr>
              <a:t>Blindleistungsregelung</a:t>
            </a:r>
          </a:p>
          <a:p>
            <a:pPr>
              <a:lnSpc>
                <a:spcPct val="120000"/>
              </a:lnSpc>
              <a:spcBef>
                <a:spcPts val="373"/>
              </a:spcBef>
              <a:buSzPct val="100000"/>
            </a:pPr>
            <a:r>
              <a:rPr lang="de-DE" sz="1283" dirty="0">
                <a:solidFill>
                  <a:prstClr val="black"/>
                </a:solidFill>
                <a:cs typeface="Arial Narrow" pitchFamily="34" charset="0"/>
              </a:rPr>
              <a:t>Komponenten-Regelung</a:t>
            </a:r>
          </a:p>
          <a:p>
            <a:pPr defTabSz="891917">
              <a:lnSpc>
                <a:spcPct val="120000"/>
              </a:lnSpc>
              <a:spcBef>
                <a:spcPts val="373"/>
              </a:spcBef>
              <a:buSzPct val="100000"/>
            </a:pPr>
            <a:r>
              <a:rPr lang="de-DE" sz="1283" dirty="0">
                <a:solidFill>
                  <a:prstClr val="black"/>
                </a:solidFill>
                <a:cs typeface="Arial Narrow" pitchFamily="34" charset="0"/>
              </a:rPr>
              <a:t>Spannungslängsregler (LVR)</a:t>
            </a:r>
          </a:p>
          <a:p>
            <a:pPr defTabSz="891917">
              <a:lnSpc>
                <a:spcPct val="120000"/>
              </a:lnSpc>
              <a:spcBef>
                <a:spcPts val="373"/>
              </a:spcBef>
              <a:buSzPct val="100000"/>
            </a:pPr>
            <a:r>
              <a:rPr lang="de-DE" sz="1283" dirty="0">
                <a:solidFill>
                  <a:prstClr val="black"/>
                </a:solidFill>
                <a:cs typeface="Arial Narrow" pitchFamily="34" charset="0"/>
              </a:rPr>
              <a:t>Regelbarer Transformator (</a:t>
            </a:r>
            <a:r>
              <a:rPr lang="de-DE" sz="1283" dirty="0" err="1">
                <a:solidFill>
                  <a:prstClr val="black"/>
                </a:solidFill>
                <a:cs typeface="Arial Narrow" pitchFamily="34" charset="0"/>
              </a:rPr>
              <a:t>rONT</a:t>
            </a:r>
            <a:r>
              <a:rPr lang="de-DE" sz="1283" dirty="0">
                <a:solidFill>
                  <a:prstClr val="black"/>
                </a:solidFill>
                <a:cs typeface="Arial Narrow" pitchFamily="34" charset="0"/>
              </a:rPr>
              <a:t>)</a:t>
            </a:r>
          </a:p>
        </p:txBody>
      </p:sp>
      <p:pic>
        <p:nvPicPr>
          <p:cNvPr id="87" name="Grafik 8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9438" y="1806429"/>
            <a:ext cx="179259" cy="187439"/>
          </a:xfrm>
          <a:prstGeom prst="rect">
            <a:avLst/>
          </a:prstGeom>
        </p:spPr>
      </p:pic>
      <p:grpSp>
        <p:nvGrpSpPr>
          <p:cNvPr id="92" name="Gruppieren 91"/>
          <p:cNvGrpSpPr/>
          <p:nvPr/>
        </p:nvGrpSpPr>
        <p:grpSpPr>
          <a:xfrm>
            <a:off x="1239272" y="4349087"/>
            <a:ext cx="239589" cy="248006"/>
            <a:chOff x="107752" y="3609296"/>
            <a:chExt cx="259555" cy="263054"/>
          </a:xfrm>
        </p:grpSpPr>
        <p:sp>
          <p:nvSpPr>
            <p:cNvPr id="93" name="Ellipse 92"/>
            <p:cNvSpPr/>
            <p:nvPr/>
          </p:nvSpPr>
          <p:spPr>
            <a:xfrm rot="16200000">
              <a:off x="109726" y="3682158"/>
              <a:ext cx="156124" cy="160071"/>
            </a:xfrm>
            <a:prstGeom prst="ellipse">
              <a:avLst/>
            </a:prstGeom>
            <a:noFill/>
            <a:ln w="15875">
              <a:solidFill>
                <a:srgbClr val="356CA5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891917"/>
              <a:endParaRPr lang="de-DE" sz="1112" dirty="0">
                <a:solidFill>
                  <a:prstClr val="black"/>
                </a:solidFill>
              </a:endParaRPr>
            </a:p>
          </p:txBody>
        </p:sp>
        <p:sp>
          <p:nvSpPr>
            <p:cNvPr id="94" name="Ellipse 93"/>
            <p:cNvSpPr/>
            <p:nvPr/>
          </p:nvSpPr>
          <p:spPr>
            <a:xfrm rot="16200000">
              <a:off x="209442" y="3682390"/>
              <a:ext cx="156124" cy="159607"/>
            </a:xfrm>
            <a:prstGeom prst="ellipse">
              <a:avLst/>
            </a:prstGeom>
            <a:noFill/>
            <a:ln w="15875">
              <a:solidFill>
                <a:srgbClr val="356CA5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891917"/>
              <a:endParaRPr lang="de-DE" sz="1112" dirty="0">
                <a:solidFill>
                  <a:prstClr val="black"/>
                </a:solidFill>
              </a:endParaRPr>
            </a:p>
          </p:txBody>
        </p:sp>
        <p:cxnSp>
          <p:nvCxnSpPr>
            <p:cNvPr id="95" name="Gerade Verbindung mit Pfeil 94"/>
            <p:cNvCxnSpPr/>
            <p:nvPr/>
          </p:nvCxnSpPr>
          <p:spPr>
            <a:xfrm flipV="1">
              <a:off x="172125" y="3609296"/>
              <a:ext cx="160874" cy="263054"/>
            </a:xfrm>
            <a:prstGeom prst="straightConnector1">
              <a:avLst/>
            </a:prstGeom>
            <a:ln w="15875">
              <a:solidFill>
                <a:srgbClr val="356CA5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6" name="Gruppieren 95"/>
          <p:cNvGrpSpPr/>
          <p:nvPr/>
        </p:nvGrpSpPr>
        <p:grpSpPr>
          <a:xfrm>
            <a:off x="1271337" y="4659358"/>
            <a:ext cx="191271" cy="268440"/>
            <a:chOff x="5000885" y="2190859"/>
            <a:chExt cx="235564" cy="333607"/>
          </a:xfrm>
        </p:grpSpPr>
        <p:sp>
          <p:nvSpPr>
            <p:cNvPr id="97" name="Ellipse 96"/>
            <p:cNvSpPr/>
            <p:nvPr/>
          </p:nvSpPr>
          <p:spPr>
            <a:xfrm>
              <a:off x="5000885" y="2190859"/>
              <a:ext cx="198703" cy="218596"/>
            </a:xfrm>
            <a:prstGeom prst="ellipse">
              <a:avLst/>
            </a:prstGeom>
            <a:noFill/>
            <a:ln w="15875">
              <a:solidFill>
                <a:srgbClr val="777777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891917"/>
              <a:endParaRPr lang="de-DE" sz="1112" dirty="0">
                <a:solidFill>
                  <a:prstClr val="black"/>
                </a:solidFill>
              </a:endParaRPr>
            </a:p>
          </p:txBody>
        </p:sp>
        <p:sp>
          <p:nvSpPr>
            <p:cNvPr id="98" name="Ellipse 97"/>
            <p:cNvSpPr/>
            <p:nvPr/>
          </p:nvSpPr>
          <p:spPr>
            <a:xfrm>
              <a:off x="5000885" y="2305868"/>
              <a:ext cx="198703" cy="218596"/>
            </a:xfrm>
            <a:prstGeom prst="ellipse">
              <a:avLst/>
            </a:prstGeom>
            <a:noFill/>
            <a:ln w="15875">
              <a:solidFill>
                <a:srgbClr val="356CA5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891917"/>
              <a:endParaRPr lang="de-DE" sz="1112" dirty="0">
                <a:solidFill>
                  <a:prstClr val="black"/>
                </a:solidFill>
              </a:endParaRPr>
            </a:p>
          </p:txBody>
        </p:sp>
        <p:cxnSp>
          <p:nvCxnSpPr>
            <p:cNvPr id="99" name="Gerade Verbindung mit Pfeil 98"/>
            <p:cNvCxnSpPr/>
            <p:nvPr/>
          </p:nvCxnSpPr>
          <p:spPr>
            <a:xfrm flipV="1">
              <a:off x="5000885" y="2190859"/>
              <a:ext cx="235564" cy="333607"/>
            </a:xfrm>
            <a:prstGeom prst="straightConnector1">
              <a:avLst/>
            </a:prstGeom>
            <a:ln w="22225">
              <a:solidFill>
                <a:srgbClr val="EC930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0" name="Grafik 9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9272" y="3933389"/>
            <a:ext cx="243187" cy="168246"/>
          </a:xfrm>
          <a:prstGeom prst="rect">
            <a:avLst/>
          </a:prstGeom>
        </p:spPr>
      </p:pic>
      <p:sp>
        <p:nvSpPr>
          <p:cNvPr id="102" name="Abgerundetes Rechteck 101"/>
          <p:cNvSpPr/>
          <p:nvPr/>
        </p:nvSpPr>
        <p:spPr>
          <a:xfrm>
            <a:off x="1167692" y="1344549"/>
            <a:ext cx="2547377" cy="4187069"/>
          </a:xfrm>
          <a:prstGeom prst="roundRect">
            <a:avLst/>
          </a:prstGeom>
          <a:noFill/>
          <a:ln>
            <a:solidFill>
              <a:srgbClr val="7777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142" tIns="42571" rIns="85142" bIns="42571" rtlCol="0" anchor="ctr"/>
          <a:lstStyle/>
          <a:p>
            <a:pPr algn="ctr" defTabSz="891917"/>
            <a:endParaRPr lang="de-DE" sz="1539">
              <a:solidFill>
                <a:prstClr val="white"/>
              </a:solidFill>
            </a:endParaRPr>
          </a:p>
        </p:txBody>
      </p:sp>
      <p:grpSp>
        <p:nvGrpSpPr>
          <p:cNvPr id="119" name="Gruppieren 118"/>
          <p:cNvGrpSpPr/>
          <p:nvPr/>
        </p:nvGrpSpPr>
        <p:grpSpPr>
          <a:xfrm>
            <a:off x="9064752" y="2690937"/>
            <a:ext cx="1873587" cy="1208373"/>
            <a:chOff x="8634905" y="2690937"/>
            <a:chExt cx="1873587" cy="1208373"/>
          </a:xfrm>
        </p:grpSpPr>
        <p:sp>
          <p:nvSpPr>
            <p:cNvPr id="101" name="Rechteck 100"/>
            <p:cNvSpPr/>
            <p:nvPr/>
          </p:nvSpPr>
          <p:spPr>
            <a:xfrm>
              <a:off x="8779473" y="2692201"/>
              <a:ext cx="1584450" cy="1165628"/>
            </a:xfrm>
            <a:prstGeom prst="rect">
              <a:avLst/>
            </a:prstGeom>
            <a:ln>
              <a:noFill/>
            </a:ln>
          </p:spPr>
          <p:txBody>
            <a:bodyPr wrap="square" lIns="85142" tIns="42571" rIns="85142" bIns="42571">
              <a:spAutoFit/>
            </a:bodyPr>
            <a:lstStyle/>
            <a:p>
              <a:pPr defTabSz="891917">
                <a:lnSpc>
                  <a:spcPct val="120000"/>
                </a:lnSpc>
                <a:spcBef>
                  <a:spcPts val="373"/>
                </a:spcBef>
                <a:buSzPct val="100000"/>
              </a:pPr>
              <a:r>
                <a:rPr lang="de-DE" sz="1283" b="1" dirty="0">
                  <a:solidFill>
                    <a:prstClr val="black"/>
                  </a:solidFill>
                  <a:cs typeface="Arial Narrow" pitchFamily="34" charset="0"/>
                </a:rPr>
                <a:t>Führungsgrößen:</a:t>
              </a:r>
            </a:p>
            <a:p>
              <a:pPr marL="266067" indent="-266067" defTabSz="891917">
                <a:lnSpc>
                  <a:spcPct val="120000"/>
                </a:lnSpc>
                <a:spcBef>
                  <a:spcPts val="373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de-DE" sz="1283" dirty="0">
                  <a:solidFill>
                    <a:prstClr val="black"/>
                  </a:solidFill>
                  <a:cs typeface="Arial Narrow" pitchFamily="34" charset="0"/>
                </a:rPr>
                <a:t>Kosten</a:t>
              </a:r>
            </a:p>
            <a:p>
              <a:pPr marL="266067" indent="-266067" defTabSz="891917">
                <a:lnSpc>
                  <a:spcPct val="120000"/>
                </a:lnSpc>
                <a:spcBef>
                  <a:spcPts val="373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de-DE" sz="1283" dirty="0">
                  <a:solidFill>
                    <a:prstClr val="black"/>
                  </a:solidFill>
                  <a:cs typeface="Arial Narrow" pitchFamily="34" charset="0"/>
                </a:rPr>
                <a:t>Leistung</a:t>
              </a:r>
            </a:p>
            <a:p>
              <a:pPr marL="266067" indent="-266067" defTabSz="891917">
                <a:lnSpc>
                  <a:spcPct val="120000"/>
                </a:lnSpc>
                <a:spcBef>
                  <a:spcPts val="373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de-DE" sz="1283" dirty="0">
                  <a:solidFill>
                    <a:prstClr val="black"/>
                  </a:solidFill>
                  <a:cs typeface="Arial Narrow" pitchFamily="34" charset="0"/>
                </a:rPr>
                <a:t>Spannung </a:t>
              </a:r>
            </a:p>
          </p:txBody>
        </p:sp>
        <p:sp>
          <p:nvSpPr>
            <p:cNvPr id="103" name="Abgerundetes Rechteck 102"/>
            <p:cNvSpPr/>
            <p:nvPr/>
          </p:nvSpPr>
          <p:spPr>
            <a:xfrm>
              <a:off x="8634905" y="2690937"/>
              <a:ext cx="1873587" cy="1208373"/>
            </a:xfrm>
            <a:prstGeom prst="roundRect">
              <a:avLst/>
            </a:prstGeom>
            <a:noFill/>
            <a:ln>
              <a:solidFill>
                <a:srgbClr val="7777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142" tIns="42571" rIns="85142" bIns="42571" rtlCol="0" anchor="ctr"/>
            <a:lstStyle/>
            <a:p>
              <a:pPr algn="ctr" defTabSz="891917"/>
              <a:endParaRPr lang="de-DE" sz="1539">
                <a:solidFill>
                  <a:prstClr val="white"/>
                </a:solidFill>
              </a:endParaRPr>
            </a:p>
          </p:txBody>
        </p:sp>
      </p:grpSp>
      <p:sp>
        <p:nvSpPr>
          <p:cNvPr id="104" name="Rechteck 103"/>
          <p:cNvSpPr/>
          <p:nvPr/>
        </p:nvSpPr>
        <p:spPr>
          <a:xfrm>
            <a:off x="7465653" y="3359862"/>
            <a:ext cx="174059" cy="88555"/>
          </a:xfrm>
          <a:prstGeom prst="rect">
            <a:avLst/>
          </a:prstGeom>
          <a:solidFill>
            <a:schemeClr val="bg1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142" tIns="42571" rIns="85142" bIns="42571" rtlCol="0" anchor="ctr"/>
          <a:lstStyle/>
          <a:p>
            <a:pPr algn="ctr" defTabSz="891917"/>
            <a:endParaRPr lang="de-DE" sz="1112">
              <a:solidFill>
                <a:prstClr val="white"/>
              </a:solidFill>
            </a:endParaRPr>
          </a:p>
        </p:txBody>
      </p:sp>
      <p:cxnSp>
        <p:nvCxnSpPr>
          <p:cNvPr id="105" name="Gerade Verbindung 118"/>
          <p:cNvCxnSpPr>
            <a:endCxn id="107" idx="2"/>
          </p:cNvCxnSpPr>
          <p:nvPr/>
        </p:nvCxnSpPr>
        <p:spPr>
          <a:xfrm>
            <a:off x="7534111" y="3373956"/>
            <a:ext cx="45985" cy="33731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Ellipse 105"/>
          <p:cNvSpPr/>
          <p:nvPr/>
        </p:nvSpPr>
        <p:spPr>
          <a:xfrm>
            <a:off x="7492632" y="3392109"/>
            <a:ext cx="27730" cy="3115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142" tIns="42571" rIns="85142" bIns="42571" rtlCol="0" anchor="ctr"/>
          <a:lstStyle/>
          <a:p>
            <a:pPr algn="ctr" defTabSz="891917"/>
            <a:endParaRPr lang="de-DE" sz="1112">
              <a:solidFill>
                <a:prstClr val="white"/>
              </a:solidFill>
            </a:endParaRPr>
          </a:p>
        </p:txBody>
      </p:sp>
      <p:sp>
        <p:nvSpPr>
          <p:cNvPr id="107" name="Ellipse 106"/>
          <p:cNvSpPr/>
          <p:nvPr/>
        </p:nvSpPr>
        <p:spPr>
          <a:xfrm>
            <a:off x="7580096" y="3392109"/>
            <a:ext cx="27730" cy="3115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142" tIns="42571" rIns="85142" bIns="42571" rtlCol="0" anchor="ctr"/>
          <a:lstStyle/>
          <a:p>
            <a:pPr algn="ctr" defTabSz="891917"/>
            <a:endParaRPr lang="de-DE" sz="1112">
              <a:solidFill>
                <a:prstClr val="white"/>
              </a:solidFill>
            </a:endParaRPr>
          </a:p>
        </p:txBody>
      </p:sp>
      <p:grpSp>
        <p:nvGrpSpPr>
          <p:cNvPr id="127" name="Blindleistung"/>
          <p:cNvGrpSpPr/>
          <p:nvPr/>
        </p:nvGrpSpPr>
        <p:grpSpPr>
          <a:xfrm>
            <a:off x="4841133" y="3090285"/>
            <a:ext cx="2281384" cy="1092825"/>
            <a:chOff x="4841133" y="3090285"/>
            <a:chExt cx="2281384" cy="1092825"/>
          </a:xfrm>
        </p:grpSpPr>
        <p:pic>
          <p:nvPicPr>
            <p:cNvPr id="111" name="Grafik 11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1133" y="3613428"/>
              <a:ext cx="173086" cy="119747"/>
            </a:xfrm>
            <a:prstGeom prst="rect">
              <a:avLst/>
            </a:prstGeom>
          </p:spPr>
        </p:pic>
        <p:pic>
          <p:nvPicPr>
            <p:cNvPr id="112" name="Grafik 111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44975" y="4063363"/>
              <a:ext cx="173086" cy="119747"/>
            </a:xfrm>
            <a:prstGeom prst="rect">
              <a:avLst/>
            </a:prstGeom>
          </p:spPr>
        </p:pic>
        <p:pic>
          <p:nvPicPr>
            <p:cNvPr id="113" name="Grafik 11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49431" y="3090285"/>
              <a:ext cx="173086" cy="119747"/>
            </a:xfrm>
            <a:prstGeom prst="rect">
              <a:avLst/>
            </a:prstGeom>
          </p:spPr>
        </p:pic>
      </p:grpSp>
      <p:cxnSp>
        <p:nvCxnSpPr>
          <p:cNvPr id="114" name="Gerade Verbindung 33"/>
          <p:cNvCxnSpPr/>
          <p:nvPr/>
        </p:nvCxnSpPr>
        <p:spPr>
          <a:xfrm>
            <a:off x="4994729" y="3528514"/>
            <a:ext cx="200824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/>
          <p:cNvSpPr/>
          <p:nvPr/>
        </p:nvSpPr>
        <p:spPr>
          <a:xfrm>
            <a:off x="1675933" y="1468038"/>
            <a:ext cx="1422185" cy="2818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373"/>
              </a:spcBef>
              <a:buSzPct val="100000"/>
            </a:pPr>
            <a:r>
              <a:rPr lang="de-DE" sz="1368" b="1" dirty="0">
                <a:solidFill>
                  <a:prstClr val="black"/>
                </a:solidFill>
                <a:cs typeface="Arial Narrow" pitchFamily="34" charset="0"/>
              </a:rPr>
              <a:t>Komponenten:</a:t>
            </a:r>
          </a:p>
        </p:txBody>
      </p:sp>
      <p:cxnSp>
        <p:nvCxnSpPr>
          <p:cNvPr id="121" name="Gerade Verbindung 33"/>
          <p:cNvCxnSpPr/>
          <p:nvPr/>
        </p:nvCxnSpPr>
        <p:spPr>
          <a:xfrm flipV="1">
            <a:off x="5159045" y="3528514"/>
            <a:ext cx="334499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190"/>
          <p:cNvCxnSpPr>
            <a:cxnSpLocks/>
          </p:cNvCxnSpPr>
          <p:nvPr/>
        </p:nvCxnSpPr>
        <p:spPr>
          <a:xfrm flipH="1" flipV="1">
            <a:off x="7652376" y="3638164"/>
            <a:ext cx="193939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4" name="Grafik 12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354" y="236150"/>
            <a:ext cx="603151" cy="603151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3A3E862-3F6B-4501-8F33-4D0049895C6F}"/>
              </a:ext>
            </a:extLst>
          </p:cNvPr>
          <p:cNvGrpSpPr/>
          <p:nvPr/>
        </p:nvGrpSpPr>
        <p:grpSpPr>
          <a:xfrm>
            <a:off x="5145241" y="3302673"/>
            <a:ext cx="2917736" cy="1440105"/>
            <a:chOff x="5145241" y="3302673"/>
            <a:chExt cx="2917736" cy="1440105"/>
          </a:xfrm>
        </p:grpSpPr>
        <p:pic>
          <p:nvPicPr>
            <p:cNvPr id="132" name="Grafik 131">
              <a:extLst>
                <a:ext uri="{FF2B5EF4-FFF2-40B4-BE49-F238E27FC236}">
                  <a16:creationId xmlns:a16="http://schemas.microsoft.com/office/drawing/2014/main" id="{317339AC-7C29-4A54-B9D9-C51219FB0B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59327" y="3516022"/>
              <a:ext cx="252000" cy="240464"/>
            </a:xfrm>
            <a:prstGeom prst="rect">
              <a:avLst/>
            </a:prstGeom>
          </p:spPr>
        </p:pic>
        <p:pic>
          <p:nvPicPr>
            <p:cNvPr id="133" name="Grafik 132">
              <a:extLst>
                <a:ext uri="{FF2B5EF4-FFF2-40B4-BE49-F238E27FC236}">
                  <a16:creationId xmlns:a16="http://schemas.microsoft.com/office/drawing/2014/main" id="{B6865579-21B8-4EFA-82F0-08CBD931BE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3453" y="4011863"/>
              <a:ext cx="89524" cy="85426"/>
            </a:xfrm>
            <a:prstGeom prst="rect">
              <a:avLst/>
            </a:prstGeom>
          </p:spPr>
        </p:pic>
        <p:pic>
          <p:nvPicPr>
            <p:cNvPr id="135" name="Grafik 134">
              <a:extLst>
                <a:ext uri="{FF2B5EF4-FFF2-40B4-BE49-F238E27FC236}">
                  <a16:creationId xmlns:a16="http://schemas.microsoft.com/office/drawing/2014/main" id="{B8D0DB09-BD5B-4898-9883-68B3B35B092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39796" y="4657352"/>
              <a:ext cx="89524" cy="85426"/>
            </a:xfrm>
            <a:prstGeom prst="rect">
              <a:avLst/>
            </a:prstGeom>
          </p:spPr>
        </p:pic>
        <p:pic>
          <p:nvPicPr>
            <p:cNvPr id="136" name="Grafik 135">
              <a:extLst>
                <a:ext uri="{FF2B5EF4-FFF2-40B4-BE49-F238E27FC236}">
                  <a16:creationId xmlns:a16="http://schemas.microsoft.com/office/drawing/2014/main" id="{666FF505-6025-4F55-944D-FF120FF519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45241" y="3302673"/>
              <a:ext cx="89524" cy="85426"/>
            </a:xfrm>
            <a:prstGeom prst="rect">
              <a:avLst/>
            </a:prstGeom>
          </p:spPr>
        </p:pic>
      </p:grp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FA1E27F1-BB94-4967-B646-8A624491AAAE}"/>
              </a:ext>
            </a:extLst>
          </p:cNvPr>
          <p:cNvGrpSpPr/>
          <p:nvPr/>
        </p:nvGrpSpPr>
        <p:grpSpPr>
          <a:xfrm>
            <a:off x="5136104" y="2929359"/>
            <a:ext cx="3001640" cy="1740361"/>
            <a:chOff x="5136104" y="2929359"/>
            <a:chExt cx="3001640" cy="1740361"/>
          </a:xfrm>
        </p:grpSpPr>
        <p:pic>
          <p:nvPicPr>
            <p:cNvPr id="138" name="Grafik 137">
              <a:extLst>
                <a:ext uri="{FF2B5EF4-FFF2-40B4-BE49-F238E27FC236}">
                  <a16:creationId xmlns:a16="http://schemas.microsoft.com/office/drawing/2014/main" id="{E377E02F-80B4-4B45-856D-CD7CD67745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0480599">
              <a:off x="5136104" y="3144683"/>
              <a:ext cx="180000" cy="171760"/>
            </a:xfrm>
            <a:prstGeom prst="rect">
              <a:avLst/>
            </a:prstGeom>
          </p:spPr>
        </p:pic>
        <p:pic>
          <p:nvPicPr>
            <p:cNvPr id="139" name="Grafik 138">
              <a:extLst>
                <a:ext uri="{FF2B5EF4-FFF2-40B4-BE49-F238E27FC236}">
                  <a16:creationId xmlns:a16="http://schemas.microsoft.com/office/drawing/2014/main" id="{E54E6015-3153-4585-8D68-31C3D9AF445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0480599">
              <a:off x="7359967" y="2929359"/>
              <a:ext cx="180000" cy="171760"/>
            </a:xfrm>
            <a:prstGeom prst="rect">
              <a:avLst/>
            </a:prstGeom>
          </p:spPr>
        </p:pic>
        <p:pic>
          <p:nvPicPr>
            <p:cNvPr id="140" name="Grafik 139">
              <a:extLst>
                <a:ext uri="{FF2B5EF4-FFF2-40B4-BE49-F238E27FC236}">
                  <a16:creationId xmlns:a16="http://schemas.microsoft.com/office/drawing/2014/main" id="{1DD55A58-CC35-4885-86DF-5B65E11B1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0480599">
              <a:off x="6639997" y="4497959"/>
              <a:ext cx="180000" cy="171760"/>
            </a:xfrm>
            <a:prstGeom prst="rect">
              <a:avLst/>
            </a:prstGeom>
          </p:spPr>
        </p:pic>
        <p:pic>
          <p:nvPicPr>
            <p:cNvPr id="141" name="Grafik 140">
              <a:extLst>
                <a:ext uri="{FF2B5EF4-FFF2-40B4-BE49-F238E27FC236}">
                  <a16:creationId xmlns:a16="http://schemas.microsoft.com/office/drawing/2014/main" id="{294EFD1C-C732-4C7D-9969-E2CDE4BF49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0480599">
              <a:off x="6127646" y="4497960"/>
              <a:ext cx="180000" cy="171760"/>
            </a:xfrm>
            <a:prstGeom prst="rect">
              <a:avLst/>
            </a:prstGeom>
          </p:spPr>
        </p:pic>
        <p:pic>
          <p:nvPicPr>
            <p:cNvPr id="142" name="Grafik 141">
              <a:extLst>
                <a:ext uri="{FF2B5EF4-FFF2-40B4-BE49-F238E27FC236}">
                  <a16:creationId xmlns:a16="http://schemas.microsoft.com/office/drawing/2014/main" id="{182D0288-F094-44C3-B789-DFA2242586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0480599">
              <a:off x="7957744" y="3846708"/>
              <a:ext cx="180000" cy="171760"/>
            </a:xfrm>
            <a:prstGeom prst="rect">
              <a:avLst/>
            </a:prstGeom>
          </p:spPr>
        </p:pic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269EB68C-B030-40FA-A054-E8B32D32FD18}"/>
              </a:ext>
            </a:extLst>
          </p:cNvPr>
          <p:cNvGrpSpPr/>
          <p:nvPr/>
        </p:nvGrpSpPr>
        <p:grpSpPr>
          <a:xfrm>
            <a:off x="5643100" y="3114911"/>
            <a:ext cx="1739429" cy="2329878"/>
            <a:chOff x="5643100" y="3114911"/>
            <a:chExt cx="1739429" cy="2329878"/>
          </a:xfrm>
        </p:grpSpPr>
        <p:pic>
          <p:nvPicPr>
            <p:cNvPr id="144" name="Grafik 143">
              <a:extLst>
                <a:ext uri="{FF2B5EF4-FFF2-40B4-BE49-F238E27FC236}">
                  <a16:creationId xmlns:a16="http://schemas.microsoft.com/office/drawing/2014/main" id="{20A5B79D-8E0D-4A2F-A2A8-5D103316CA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3100" y="3114911"/>
              <a:ext cx="143618" cy="137044"/>
            </a:xfrm>
            <a:prstGeom prst="rect">
              <a:avLst/>
            </a:prstGeom>
          </p:spPr>
        </p:pic>
        <p:pic>
          <p:nvPicPr>
            <p:cNvPr id="145" name="Grafik 144">
              <a:extLst>
                <a:ext uri="{FF2B5EF4-FFF2-40B4-BE49-F238E27FC236}">
                  <a16:creationId xmlns:a16="http://schemas.microsoft.com/office/drawing/2014/main" id="{2B985651-3B90-4F90-83CE-0F796F761F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38911" y="5307745"/>
              <a:ext cx="143618" cy="137044"/>
            </a:xfrm>
            <a:prstGeom prst="rect">
              <a:avLst/>
            </a:prstGeom>
          </p:spPr>
        </p:pic>
      </p:grpSp>
      <p:pic>
        <p:nvPicPr>
          <p:cNvPr id="146" name="Grafik 145">
            <a:extLst>
              <a:ext uri="{FF2B5EF4-FFF2-40B4-BE49-F238E27FC236}">
                <a16:creationId xmlns:a16="http://schemas.microsoft.com/office/drawing/2014/main" id="{8A39D2E9-BAC7-44D8-A8E6-D8D9DDCD5E1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9272" y="3170072"/>
            <a:ext cx="252000" cy="240464"/>
          </a:xfrm>
          <a:prstGeom prst="rect">
            <a:avLst/>
          </a:prstGeom>
        </p:spPr>
      </p:pic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24FFC988-E1F7-4D15-AF6D-E48B3B376B1E}"/>
              </a:ext>
            </a:extLst>
          </p:cNvPr>
          <p:cNvGrpSpPr/>
          <p:nvPr/>
        </p:nvGrpSpPr>
        <p:grpSpPr>
          <a:xfrm>
            <a:off x="4582836" y="2948234"/>
            <a:ext cx="3786859" cy="2114598"/>
            <a:chOff x="4582836" y="2948234"/>
            <a:chExt cx="3786859" cy="2114598"/>
          </a:xfrm>
        </p:grpSpPr>
        <p:pic>
          <p:nvPicPr>
            <p:cNvPr id="147" name="Grafik 146">
              <a:extLst>
                <a:ext uri="{FF2B5EF4-FFF2-40B4-BE49-F238E27FC236}">
                  <a16:creationId xmlns:a16="http://schemas.microsoft.com/office/drawing/2014/main" id="{AA257A45-BCC0-48F4-A4F5-46A3FFB245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17695" y="4174243"/>
              <a:ext cx="252000" cy="240464"/>
            </a:xfrm>
            <a:prstGeom prst="rect">
              <a:avLst/>
            </a:prstGeom>
          </p:spPr>
        </p:pic>
        <p:pic>
          <p:nvPicPr>
            <p:cNvPr id="148" name="Grafik 147">
              <a:extLst>
                <a:ext uri="{FF2B5EF4-FFF2-40B4-BE49-F238E27FC236}">
                  <a16:creationId xmlns:a16="http://schemas.microsoft.com/office/drawing/2014/main" id="{94ABF90A-569E-4E6D-A752-C20B2E9C58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17695" y="2948234"/>
              <a:ext cx="252000" cy="240464"/>
            </a:xfrm>
            <a:prstGeom prst="rect">
              <a:avLst/>
            </a:prstGeom>
          </p:spPr>
        </p:pic>
        <p:pic>
          <p:nvPicPr>
            <p:cNvPr id="149" name="Grafik 148">
              <a:extLst>
                <a:ext uri="{FF2B5EF4-FFF2-40B4-BE49-F238E27FC236}">
                  <a16:creationId xmlns:a16="http://schemas.microsoft.com/office/drawing/2014/main" id="{7C1E9169-0EA4-41AF-B883-7824AF803D2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17695" y="4489936"/>
              <a:ext cx="252000" cy="240464"/>
            </a:xfrm>
            <a:prstGeom prst="rect">
              <a:avLst/>
            </a:prstGeom>
          </p:spPr>
        </p:pic>
        <p:pic>
          <p:nvPicPr>
            <p:cNvPr id="150" name="Grafik 149">
              <a:extLst>
                <a:ext uri="{FF2B5EF4-FFF2-40B4-BE49-F238E27FC236}">
                  <a16:creationId xmlns:a16="http://schemas.microsoft.com/office/drawing/2014/main" id="{F750B994-49AE-4823-AF28-9B7ED6456DD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24895" y="4616217"/>
              <a:ext cx="252000" cy="240464"/>
            </a:xfrm>
            <a:prstGeom prst="rect">
              <a:avLst/>
            </a:prstGeom>
          </p:spPr>
        </p:pic>
        <p:pic>
          <p:nvPicPr>
            <p:cNvPr id="151" name="Grafik 150">
              <a:extLst>
                <a:ext uri="{FF2B5EF4-FFF2-40B4-BE49-F238E27FC236}">
                  <a16:creationId xmlns:a16="http://schemas.microsoft.com/office/drawing/2014/main" id="{438D44D1-AF9E-4540-B020-FFB572B289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24895" y="4822368"/>
              <a:ext cx="252000" cy="240464"/>
            </a:xfrm>
            <a:prstGeom prst="rect">
              <a:avLst/>
            </a:prstGeom>
          </p:spPr>
        </p:pic>
        <p:pic>
          <p:nvPicPr>
            <p:cNvPr id="152" name="Grafik 151">
              <a:extLst>
                <a:ext uri="{FF2B5EF4-FFF2-40B4-BE49-F238E27FC236}">
                  <a16:creationId xmlns:a16="http://schemas.microsoft.com/office/drawing/2014/main" id="{7FA4CDBD-A772-4908-808E-E3FE02C9F35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27283" y="3688080"/>
              <a:ext cx="252000" cy="240464"/>
            </a:xfrm>
            <a:prstGeom prst="rect">
              <a:avLst/>
            </a:prstGeom>
          </p:spPr>
        </p:pic>
        <p:pic>
          <p:nvPicPr>
            <p:cNvPr id="153" name="Grafik 152">
              <a:extLst>
                <a:ext uri="{FF2B5EF4-FFF2-40B4-BE49-F238E27FC236}">
                  <a16:creationId xmlns:a16="http://schemas.microsoft.com/office/drawing/2014/main" id="{69594E0E-422B-4B0D-8794-FC7C85CE0C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21991" y="4325845"/>
              <a:ext cx="252000" cy="240464"/>
            </a:xfrm>
            <a:prstGeom prst="rect">
              <a:avLst/>
            </a:prstGeom>
          </p:spPr>
        </p:pic>
        <p:pic>
          <p:nvPicPr>
            <p:cNvPr id="154" name="Grafik 153">
              <a:extLst>
                <a:ext uri="{FF2B5EF4-FFF2-40B4-BE49-F238E27FC236}">
                  <a16:creationId xmlns:a16="http://schemas.microsoft.com/office/drawing/2014/main" id="{5D796CEA-55D2-42D2-BDCC-7F15722CC5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2836" y="3391855"/>
              <a:ext cx="252000" cy="240464"/>
            </a:xfrm>
            <a:prstGeom prst="rect">
              <a:avLst/>
            </a:prstGeom>
          </p:spPr>
        </p:pic>
      </p:grpSp>
      <p:pic>
        <p:nvPicPr>
          <p:cNvPr id="156" name="Grafik 155">
            <a:extLst>
              <a:ext uri="{FF2B5EF4-FFF2-40B4-BE49-F238E27FC236}">
                <a16:creationId xmlns:a16="http://schemas.microsoft.com/office/drawing/2014/main" id="{1BCA55B2-3C2D-4FD1-B061-71669929E8F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1212" y="4126885"/>
            <a:ext cx="140789" cy="159253"/>
          </a:xfrm>
          <a:prstGeom prst="rect">
            <a:avLst/>
          </a:prstGeom>
        </p:spPr>
      </p:pic>
      <p:pic>
        <p:nvPicPr>
          <p:cNvPr id="157" name="Grafik 156">
            <a:extLst>
              <a:ext uri="{FF2B5EF4-FFF2-40B4-BE49-F238E27FC236}">
                <a16:creationId xmlns:a16="http://schemas.microsoft.com/office/drawing/2014/main" id="{1837959E-C2C9-4CDB-98DC-DF751EC8EA4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8672" y="2100577"/>
            <a:ext cx="140789" cy="159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109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8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8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8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8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+mj-lt"/>
              </a:rPr>
              <a:t>Zufall im Model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de-DE" sz="180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Reproduzierbarkeit der identischen Zufallsverteilung wird im Modell mittels alphanummerischer Schlüssel (</a:t>
            </a:r>
            <a:r>
              <a:rPr lang="de-DE" sz="1800" dirty="0" err="1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Zufallsseeds</a:t>
            </a:r>
            <a:r>
              <a:rPr lang="de-DE" sz="1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) gewährleistet</a:t>
            </a:r>
            <a:endParaRPr lang="de-DE" dirty="0">
              <a:latin typeface="+mj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B7600C6-EA3E-437C-9A9A-0AB775DEB5BB}"/>
              </a:ext>
            </a:extLst>
          </p:cNvPr>
          <p:cNvSpPr/>
          <p:nvPr/>
        </p:nvSpPr>
        <p:spPr>
          <a:xfrm>
            <a:off x="6903647" y="2425350"/>
            <a:ext cx="2160000" cy="288000"/>
          </a:xfrm>
          <a:prstGeom prst="rect">
            <a:avLst/>
          </a:prstGeom>
          <a:solidFill>
            <a:srgbClr val="AB2626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ixierte Verteilung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CAC8577-3906-4C87-BA44-F7BB30434E93}"/>
              </a:ext>
            </a:extLst>
          </p:cNvPr>
          <p:cNvSpPr/>
          <p:nvPr/>
        </p:nvSpPr>
        <p:spPr>
          <a:xfrm>
            <a:off x="9099164" y="2427565"/>
            <a:ext cx="2160000" cy="288000"/>
          </a:xfrm>
          <a:prstGeom prst="rect">
            <a:avLst/>
          </a:prstGeom>
          <a:solidFill>
            <a:srgbClr val="356CA5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latin typeface="+mj-lt"/>
                <a:cs typeface="Arial" panose="020B0604020202020204" pitchFamily="34" charset="0"/>
              </a:rPr>
              <a:t>Zufallsverteil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11B3DE9-D2A8-48D7-8D9C-CD9493A08829}"/>
              </a:ext>
            </a:extLst>
          </p:cNvPr>
          <p:cNvSpPr/>
          <p:nvPr/>
        </p:nvSpPr>
        <p:spPr>
          <a:xfrm rot="5400000">
            <a:off x="2043761" y="1526984"/>
            <a:ext cx="720000" cy="1654852"/>
          </a:xfrm>
          <a:prstGeom prst="rect">
            <a:avLst/>
          </a:prstGeom>
          <a:solidFill>
            <a:srgbClr val="51515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Siedlungsstruktur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0208DEC1-6E64-4CDD-9A6A-DEEA978E4C39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10794200" y="2469067"/>
            <a:ext cx="324000" cy="204996"/>
            <a:chOff x="1155203" y="1017198"/>
            <a:chExt cx="637963" cy="403638"/>
          </a:xfrm>
        </p:grpSpPr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5AEC3F2D-D6E3-4A2E-9A0A-2E8908B78F9E}"/>
                </a:ext>
              </a:extLst>
            </p:cNvPr>
            <p:cNvSpPr/>
            <p:nvPr/>
          </p:nvSpPr>
          <p:spPr>
            <a:xfrm rot="840000">
              <a:off x="1155203" y="1060837"/>
              <a:ext cx="360000" cy="359999"/>
            </a:xfrm>
            <a:prstGeom prst="flowChartAlternateProcess">
              <a:avLst/>
            </a:prstGeom>
            <a:solidFill>
              <a:schemeClr val="tx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BE120397-12B9-4E7A-AB11-E7ADEFE5DB8D}"/>
                </a:ext>
              </a:extLst>
            </p:cNvPr>
            <p:cNvSpPr/>
            <p:nvPr/>
          </p:nvSpPr>
          <p:spPr>
            <a:xfrm rot="840000">
              <a:off x="1299203" y="1204838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53029F40-3B82-4388-901E-3960A66ED54E}"/>
                </a:ext>
              </a:extLst>
            </p:cNvPr>
            <p:cNvSpPr/>
            <p:nvPr/>
          </p:nvSpPr>
          <p:spPr>
            <a:xfrm rot="20280000">
              <a:off x="1433166" y="1017198"/>
              <a:ext cx="360000" cy="360001"/>
            </a:xfrm>
            <a:prstGeom prst="flowChartAlternateProcess">
              <a:avLst/>
            </a:prstGeom>
            <a:solidFill>
              <a:schemeClr val="tx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787E17E0-600D-486B-8775-C3C2B6220AD4}"/>
                </a:ext>
              </a:extLst>
            </p:cNvPr>
            <p:cNvSpPr/>
            <p:nvPr/>
          </p:nvSpPr>
          <p:spPr>
            <a:xfrm rot="20280000">
              <a:off x="1470230" y="1099936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10EEAE79-E079-4803-B4A2-2C84FCF49A9A}"/>
                </a:ext>
              </a:extLst>
            </p:cNvPr>
            <p:cNvSpPr/>
            <p:nvPr/>
          </p:nvSpPr>
          <p:spPr>
            <a:xfrm rot="20280000">
              <a:off x="1542799" y="1279550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01CCBB4D-F61F-45B9-BFC1-1548C40A2E35}"/>
                </a:ext>
              </a:extLst>
            </p:cNvPr>
            <p:cNvSpPr/>
            <p:nvPr/>
          </p:nvSpPr>
          <p:spPr>
            <a:xfrm rot="20280000">
              <a:off x="1688518" y="1220676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22F9EC31-4E1D-43A1-965E-7596C86D4537}"/>
                </a:ext>
              </a:extLst>
            </p:cNvPr>
            <p:cNvSpPr/>
            <p:nvPr/>
          </p:nvSpPr>
          <p:spPr>
            <a:xfrm rot="20280000">
              <a:off x="1615949" y="1041062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83ED3EDE-3C98-439F-BF19-61F7D755129F}"/>
                </a:ext>
              </a:extLst>
            </p:cNvPr>
            <p:cNvSpPr/>
            <p:nvPr/>
          </p:nvSpPr>
          <p:spPr>
            <a:xfrm rot="20280000">
              <a:off x="1577166" y="1161198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93B5DC4F-099A-438F-8778-B2D805512FA2}"/>
              </a:ext>
            </a:extLst>
          </p:cNvPr>
          <p:cNvGrpSpPr/>
          <p:nvPr/>
        </p:nvGrpSpPr>
        <p:grpSpPr>
          <a:xfrm>
            <a:off x="1576335" y="2748150"/>
            <a:ext cx="5040000" cy="2160000"/>
            <a:chOff x="3159726" y="1564965"/>
            <a:chExt cx="5040000" cy="2160000"/>
          </a:xfrm>
        </p:grpSpPr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8B34AC26-F099-4B0B-8956-BE07C8A99EE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59726" y="2225865"/>
              <a:ext cx="5040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B5CD7310-CED7-4B3D-8712-596E464B24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59726" y="3064065"/>
              <a:ext cx="5040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D3422F68-DD9D-4FED-8AAF-07D87282C394}"/>
                </a:ext>
              </a:extLst>
            </p:cNvPr>
            <p:cNvCxnSpPr>
              <a:cxnSpLocks/>
            </p:cNvCxnSpPr>
            <p:nvPr/>
          </p:nvCxnSpPr>
          <p:spPr>
            <a:xfrm>
              <a:off x="4762003" y="1564965"/>
              <a:ext cx="0" cy="21600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3786F46B-544E-428B-8B95-A9B8DCA0C1DC}"/>
                </a:ext>
              </a:extLst>
            </p:cNvPr>
            <p:cNvCxnSpPr>
              <a:cxnSpLocks/>
            </p:cNvCxnSpPr>
            <p:nvPr/>
          </p:nvCxnSpPr>
          <p:spPr>
            <a:xfrm>
              <a:off x="6597449" y="1564965"/>
              <a:ext cx="0" cy="21600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hteck 25">
            <a:extLst>
              <a:ext uri="{FF2B5EF4-FFF2-40B4-BE49-F238E27FC236}">
                <a16:creationId xmlns:a16="http://schemas.microsoft.com/office/drawing/2014/main" id="{9D1F44C6-877C-4AD0-8B3E-C6A39667AC56}"/>
              </a:ext>
            </a:extLst>
          </p:cNvPr>
          <p:cNvSpPr/>
          <p:nvPr/>
        </p:nvSpPr>
        <p:spPr>
          <a:xfrm>
            <a:off x="1576335" y="2748150"/>
            <a:ext cx="1656000" cy="702000"/>
          </a:xfrm>
          <a:prstGeom prst="rect">
            <a:avLst/>
          </a:prstGeom>
          <a:solidFill>
            <a:srgbClr val="356CA5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latin typeface="+mj-lt"/>
                <a:cs typeface="Arial" panose="020B0604020202020204" pitchFamily="34" charset="0"/>
              </a:rPr>
              <a:t>Verteilung von Gebäuden zu Netzverknüpfungspunkten durch „Zufallsseed Siedlungsstruktur“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4545F4E2-A03A-4D2E-AA51-62E1F8EC22E9}"/>
              </a:ext>
            </a:extLst>
          </p:cNvPr>
          <p:cNvSpPr/>
          <p:nvPr/>
        </p:nvSpPr>
        <p:spPr>
          <a:xfrm>
            <a:off x="4960335" y="2748150"/>
            <a:ext cx="1656000" cy="702000"/>
          </a:xfrm>
          <a:prstGeom prst="rect">
            <a:avLst/>
          </a:prstGeom>
          <a:gradFill>
            <a:gsLst>
              <a:gs pos="100000">
                <a:srgbClr val="356CA5"/>
              </a:gs>
              <a:gs pos="0">
                <a:srgbClr val="AB2626"/>
              </a:gs>
            </a:gsLst>
            <a:lin ang="5400000" scaled="1"/>
          </a:gra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latin typeface="+mj-lt"/>
                <a:cs typeface="Arial" panose="020B0604020202020204" pitchFamily="34" charset="0"/>
              </a:rPr>
              <a:t>Optional:</a:t>
            </a:r>
          </a:p>
          <a:p>
            <a:pPr algn="ctr"/>
            <a:r>
              <a:rPr lang="de-DE" sz="800" dirty="0">
                <a:latin typeface="+mj-lt"/>
                <a:cs typeface="Arial" panose="020B0604020202020204" pitchFamily="34" charset="0"/>
              </a:rPr>
              <a:t>Veränderung der Aktivität von Komponenten durch</a:t>
            </a:r>
          </a:p>
          <a:p>
            <a:pPr algn="ctr"/>
            <a:r>
              <a:rPr lang="de-DE" sz="800" dirty="0">
                <a:latin typeface="+mj-lt"/>
                <a:cs typeface="Arial" panose="020B0604020202020204" pitchFamily="34" charset="0"/>
              </a:rPr>
              <a:t>„Zufallsseed Nutzerverhalten“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6FB09DC-A5E1-46BC-8C17-E22A9116FB80}"/>
              </a:ext>
            </a:extLst>
          </p:cNvPr>
          <p:cNvSpPr/>
          <p:nvPr/>
        </p:nvSpPr>
        <p:spPr>
          <a:xfrm>
            <a:off x="3268335" y="2748150"/>
            <a:ext cx="1656000" cy="702000"/>
          </a:xfrm>
          <a:prstGeom prst="rect">
            <a:avLst/>
          </a:prstGeom>
          <a:gradFill>
            <a:gsLst>
              <a:gs pos="100000">
                <a:srgbClr val="356CA5"/>
              </a:gs>
              <a:gs pos="0">
                <a:srgbClr val="AB2626"/>
              </a:gs>
            </a:gsLst>
            <a:lin ang="5400000" scaled="1"/>
          </a:gra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latin typeface="+mj-lt"/>
                <a:cs typeface="Arial" panose="020B0604020202020204" pitchFamily="34" charset="0"/>
              </a:rPr>
              <a:t>Optional:</a:t>
            </a:r>
          </a:p>
          <a:p>
            <a:pPr algn="ctr"/>
            <a:r>
              <a:rPr lang="de-DE" sz="800" dirty="0">
                <a:latin typeface="+mj-lt"/>
                <a:cs typeface="Arial" panose="020B0604020202020204" pitchFamily="34" charset="0"/>
              </a:rPr>
              <a:t>Verteilung von Komponenten und Attributen auf Gebäude durch „Zufallsseed Komponentenverteilung“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FC7D3C2-D86C-4F12-9229-FF83777EA926}"/>
              </a:ext>
            </a:extLst>
          </p:cNvPr>
          <p:cNvSpPr/>
          <p:nvPr/>
        </p:nvSpPr>
        <p:spPr>
          <a:xfrm>
            <a:off x="4960335" y="3477150"/>
            <a:ext cx="1656000" cy="702000"/>
          </a:xfrm>
          <a:prstGeom prst="rect">
            <a:avLst/>
          </a:prstGeom>
          <a:gradFill>
            <a:gsLst>
              <a:gs pos="100000">
                <a:srgbClr val="356CA5"/>
              </a:gs>
              <a:gs pos="0">
                <a:srgbClr val="AB2626"/>
              </a:gs>
            </a:gsLst>
            <a:lin ang="5400000" scaled="1"/>
          </a:gra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latin typeface="+mj-lt"/>
                <a:cs typeface="Arial" panose="020B0604020202020204" pitchFamily="34" charset="0"/>
              </a:rPr>
              <a:t>Optional:</a:t>
            </a:r>
          </a:p>
          <a:p>
            <a:pPr algn="ctr"/>
            <a:r>
              <a:rPr lang="de-DE" sz="800" dirty="0">
                <a:latin typeface="+mj-lt"/>
                <a:cs typeface="Arial" panose="020B0604020202020204" pitchFamily="34" charset="0"/>
              </a:rPr>
              <a:t>Veränderung der Aktivität von Komponenten durch</a:t>
            </a:r>
          </a:p>
          <a:p>
            <a:pPr algn="ctr"/>
            <a:r>
              <a:rPr lang="de-DE" sz="800" dirty="0">
                <a:latin typeface="+mj-lt"/>
                <a:cs typeface="Arial" panose="020B0604020202020204" pitchFamily="34" charset="0"/>
              </a:rPr>
              <a:t>„Zufallsseed Nutzerverhalten“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86591B8-A758-4908-A4FE-A9CE199ADB29}"/>
              </a:ext>
            </a:extLst>
          </p:cNvPr>
          <p:cNvSpPr/>
          <p:nvPr/>
        </p:nvSpPr>
        <p:spPr>
          <a:xfrm>
            <a:off x="3268335" y="3477150"/>
            <a:ext cx="1656000" cy="702000"/>
          </a:xfrm>
          <a:prstGeom prst="rect">
            <a:avLst/>
          </a:prstGeom>
          <a:solidFill>
            <a:srgbClr val="356CA5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latin typeface="+mj-lt"/>
                <a:cs typeface="Arial" panose="020B0604020202020204" pitchFamily="34" charset="0"/>
              </a:rPr>
              <a:t>Verteilung von Komponenten und Attributen auf Gebäude durch „Zufallsseed Komponentenverteilung“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84DA621D-C5C6-483C-953E-EAFA839C14B8}"/>
              </a:ext>
            </a:extLst>
          </p:cNvPr>
          <p:cNvSpPr/>
          <p:nvPr/>
        </p:nvSpPr>
        <p:spPr>
          <a:xfrm>
            <a:off x="4960335" y="4206150"/>
            <a:ext cx="1656000" cy="702000"/>
          </a:xfrm>
          <a:prstGeom prst="rect">
            <a:avLst/>
          </a:prstGeom>
          <a:solidFill>
            <a:srgbClr val="356C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latin typeface="+mj-lt"/>
                <a:cs typeface="Arial" panose="020B0604020202020204" pitchFamily="34" charset="0"/>
              </a:rPr>
              <a:t>Veränderung der Aktivität von Komponenten durch</a:t>
            </a:r>
          </a:p>
          <a:p>
            <a:pPr algn="ctr"/>
            <a:r>
              <a:rPr lang="de-DE" sz="800" dirty="0">
                <a:latin typeface="+mj-lt"/>
                <a:cs typeface="Arial" panose="020B0604020202020204" pitchFamily="34" charset="0"/>
              </a:rPr>
              <a:t>„Zufallsseed Nutzerverhalten“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66CC8B8-52D7-46ED-B99C-C88600292E7D}"/>
              </a:ext>
            </a:extLst>
          </p:cNvPr>
          <p:cNvSpPr/>
          <p:nvPr/>
        </p:nvSpPr>
        <p:spPr>
          <a:xfrm>
            <a:off x="1576335" y="3475952"/>
            <a:ext cx="1656000" cy="702000"/>
          </a:xfrm>
          <a:prstGeom prst="rect">
            <a:avLst/>
          </a:prstGeom>
          <a:solidFill>
            <a:srgbClr val="AB2626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ixierte Verteilung von Gebäuden zu Netzverknüpfungspunkten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8A409DD9-A4ED-42C7-A58D-BB6CFF488829}"/>
              </a:ext>
            </a:extLst>
          </p:cNvPr>
          <p:cNvSpPr/>
          <p:nvPr/>
        </p:nvSpPr>
        <p:spPr>
          <a:xfrm>
            <a:off x="1576335" y="4208324"/>
            <a:ext cx="1656000" cy="702000"/>
          </a:xfrm>
          <a:prstGeom prst="rect">
            <a:avLst/>
          </a:prstGeom>
          <a:solidFill>
            <a:srgbClr val="AB2626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ixierte Verteilung von Gebäuden zu Netzverknüpfungspunkten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F1BDDBF0-22D8-4D83-9777-92ABE5445BFF}"/>
              </a:ext>
            </a:extLst>
          </p:cNvPr>
          <p:cNvSpPr/>
          <p:nvPr/>
        </p:nvSpPr>
        <p:spPr>
          <a:xfrm>
            <a:off x="3268335" y="4206150"/>
            <a:ext cx="1656000" cy="702000"/>
          </a:xfrm>
          <a:prstGeom prst="rect">
            <a:avLst/>
          </a:prstGeom>
          <a:solidFill>
            <a:srgbClr val="AB2626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ixierte Verteilung von Komponenten und Attributen auf Gebäude 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98574C90-8803-4CFD-B891-42FC59FDFCBC}"/>
              </a:ext>
            </a:extLst>
          </p:cNvPr>
          <p:cNvGrpSpPr>
            <a:grpSpLocks noChangeAspect="1"/>
          </p:cNvGrpSpPr>
          <p:nvPr/>
        </p:nvGrpSpPr>
        <p:grpSpPr>
          <a:xfrm>
            <a:off x="8741985" y="2457548"/>
            <a:ext cx="144000" cy="200633"/>
            <a:chOff x="2818875" y="4262825"/>
            <a:chExt cx="108000" cy="150475"/>
          </a:xfrm>
        </p:grpSpPr>
        <p:sp>
          <p:nvSpPr>
            <p:cNvPr id="36" name="Flussdiagramm: Alternativer Prozess 35">
              <a:extLst>
                <a:ext uri="{FF2B5EF4-FFF2-40B4-BE49-F238E27FC236}">
                  <a16:creationId xmlns:a16="http://schemas.microsoft.com/office/drawing/2014/main" id="{B9614C69-C9C8-4F58-9EF4-F9E3E4E64E37}"/>
                </a:ext>
              </a:extLst>
            </p:cNvPr>
            <p:cNvSpPr/>
            <p:nvPr/>
          </p:nvSpPr>
          <p:spPr>
            <a:xfrm>
              <a:off x="2818875" y="4305300"/>
              <a:ext cx="108000" cy="108000"/>
            </a:xfrm>
            <a:prstGeom prst="flowChartAlternateProcess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+mj-lt"/>
              </a:endParaRPr>
            </a:p>
          </p:txBody>
        </p:sp>
        <p:sp>
          <p:nvSpPr>
            <p:cNvPr id="37" name="Halbbogen 36">
              <a:extLst>
                <a:ext uri="{FF2B5EF4-FFF2-40B4-BE49-F238E27FC236}">
                  <a16:creationId xmlns:a16="http://schemas.microsoft.com/office/drawing/2014/main" id="{CD61E102-DEAA-480C-8BA4-5E9018B3AB46}"/>
                </a:ext>
              </a:extLst>
            </p:cNvPr>
            <p:cNvSpPr/>
            <p:nvPr/>
          </p:nvSpPr>
          <p:spPr>
            <a:xfrm>
              <a:off x="2836875" y="4262825"/>
              <a:ext cx="72000" cy="95632"/>
            </a:xfrm>
            <a:prstGeom prst="blockArc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D1DDA59D-9D44-462E-9BAB-E213E53948FD}"/>
                </a:ext>
              </a:extLst>
            </p:cNvPr>
            <p:cNvSpPr/>
            <p:nvPr/>
          </p:nvSpPr>
          <p:spPr>
            <a:xfrm>
              <a:off x="2854875" y="4323300"/>
              <a:ext cx="36000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+mj-lt"/>
              </a:endParaRPr>
            </a:p>
          </p:txBody>
        </p:sp>
        <p:sp>
          <p:nvSpPr>
            <p:cNvPr id="39" name="Gleichschenkliges Dreieck 38">
              <a:extLst>
                <a:ext uri="{FF2B5EF4-FFF2-40B4-BE49-F238E27FC236}">
                  <a16:creationId xmlns:a16="http://schemas.microsoft.com/office/drawing/2014/main" id="{F2625DF9-C058-453B-A066-3369B87E92C6}"/>
                </a:ext>
              </a:extLst>
            </p:cNvPr>
            <p:cNvSpPr/>
            <p:nvPr/>
          </p:nvSpPr>
          <p:spPr>
            <a:xfrm>
              <a:off x="2854875" y="4348163"/>
              <a:ext cx="36000" cy="36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+mj-lt"/>
              </a:endParaRPr>
            </a:p>
          </p:txBody>
        </p:sp>
      </p:grpSp>
      <p:sp>
        <p:nvSpPr>
          <p:cNvPr id="40" name="Rechteck 39">
            <a:extLst>
              <a:ext uri="{FF2B5EF4-FFF2-40B4-BE49-F238E27FC236}">
                <a16:creationId xmlns:a16="http://schemas.microsoft.com/office/drawing/2014/main" id="{4F7A0DDC-4C7E-4B6A-A441-46DFC8A83A7A}"/>
              </a:ext>
            </a:extLst>
          </p:cNvPr>
          <p:cNvSpPr/>
          <p:nvPr/>
        </p:nvSpPr>
        <p:spPr>
          <a:xfrm>
            <a:off x="826756" y="2746952"/>
            <a:ext cx="720000" cy="702000"/>
          </a:xfrm>
          <a:prstGeom prst="rect">
            <a:avLst/>
          </a:prstGeom>
          <a:solidFill>
            <a:srgbClr val="51515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all 1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CE1D9CF-D043-42A8-8E9F-EAD7989D8979}"/>
              </a:ext>
            </a:extLst>
          </p:cNvPr>
          <p:cNvSpPr/>
          <p:nvPr/>
        </p:nvSpPr>
        <p:spPr>
          <a:xfrm>
            <a:off x="826756" y="3475952"/>
            <a:ext cx="720000" cy="702000"/>
          </a:xfrm>
          <a:prstGeom prst="rect">
            <a:avLst/>
          </a:prstGeom>
          <a:solidFill>
            <a:srgbClr val="51515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all 2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2765C77E-27E5-4060-9B97-917AA8817FBA}"/>
              </a:ext>
            </a:extLst>
          </p:cNvPr>
          <p:cNvSpPr/>
          <p:nvPr/>
        </p:nvSpPr>
        <p:spPr>
          <a:xfrm>
            <a:off x="826756" y="4206150"/>
            <a:ext cx="720000" cy="702000"/>
          </a:xfrm>
          <a:prstGeom prst="rect">
            <a:avLst/>
          </a:prstGeom>
          <a:solidFill>
            <a:srgbClr val="51515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all 3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611C3764-E697-45A4-AA8A-15F74F7252B4}"/>
              </a:ext>
            </a:extLst>
          </p:cNvPr>
          <p:cNvSpPr/>
          <p:nvPr/>
        </p:nvSpPr>
        <p:spPr>
          <a:xfrm rot="5400000">
            <a:off x="3736037" y="1526984"/>
            <a:ext cx="720000" cy="1654852"/>
          </a:xfrm>
          <a:prstGeom prst="rect">
            <a:avLst/>
          </a:prstGeom>
          <a:solidFill>
            <a:srgbClr val="51515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omponenten-verteilung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9764667A-8DBE-4475-8DC3-52EE3115EA63}"/>
              </a:ext>
            </a:extLst>
          </p:cNvPr>
          <p:cNvSpPr/>
          <p:nvPr/>
        </p:nvSpPr>
        <p:spPr>
          <a:xfrm rot="5400000">
            <a:off x="5426889" y="1526984"/>
            <a:ext cx="720000" cy="1654852"/>
          </a:xfrm>
          <a:prstGeom prst="rect">
            <a:avLst/>
          </a:prstGeom>
          <a:solidFill>
            <a:srgbClr val="51515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Nutzerverhalten</a:t>
            </a:r>
          </a:p>
        </p:txBody>
      </p:sp>
      <p:sp>
        <p:nvSpPr>
          <p:cNvPr id="45" name="Pfeil: nach unten 44">
            <a:extLst>
              <a:ext uri="{FF2B5EF4-FFF2-40B4-BE49-F238E27FC236}">
                <a16:creationId xmlns:a16="http://schemas.microsoft.com/office/drawing/2014/main" id="{DB3343AE-8D92-4EB8-843B-C43F9630D86C}"/>
              </a:ext>
            </a:extLst>
          </p:cNvPr>
          <p:cNvSpPr/>
          <p:nvPr/>
        </p:nvSpPr>
        <p:spPr>
          <a:xfrm rot="16200000">
            <a:off x="4061265" y="2458460"/>
            <a:ext cx="72000" cy="5037975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51515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de-DE" sz="120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2E6C448-9376-4CBA-9B7C-5B43AEA86F67}"/>
              </a:ext>
            </a:extLst>
          </p:cNvPr>
          <p:cNvSpPr/>
          <p:nvPr/>
        </p:nvSpPr>
        <p:spPr>
          <a:xfrm>
            <a:off x="6903647" y="2746952"/>
            <a:ext cx="2160000" cy="702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de-DE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6BCE3C67-1E3C-43DD-B6FC-D9AD15963243}"/>
              </a:ext>
            </a:extLst>
          </p:cNvPr>
          <p:cNvSpPr/>
          <p:nvPr/>
        </p:nvSpPr>
        <p:spPr>
          <a:xfrm>
            <a:off x="6903647" y="3475952"/>
            <a:ext cx="2160000" cy="702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de-DE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DE6681D-0A1B-4DC6-8605-9A038EB023D5}"/>
              </a:ext>
            </a:extLst>
          </p:cNvPr>
          <p:cNvSpPr/>
          <p:nvPr/>
        </p:nvSpPr>
        <p:spPr>
          <a:xfrm>
            <a:off x="6903647" y="4206150"/>
            <a:ext cx="2160000" cy="702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de-DE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E5847575-BF6D-4160-8551-B6E8B61DFDB4}"/>
              </a:ext>
            </a:extLst>
          </p:cNvPr>
          <p:cNvSpPr/>
          <p:nvPr/>
        </p:nvSpPr>
        <p:spPr>
          <a:xfrm>
            <a:off x="9099164" y="2746952"/>
            <a:ext cx="2160000" cy="702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de-DE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41B434A-7215-4C7E-9D7C-3F307BBFDB11}"/>
              </a:ext>
            </a:extLst>
          </p:cNvPr>
          <p:cNvSpPr/>
          <p:nvPr/>
        </p:nvSpPr>
        <p:spPr>
          <a:xfrm>
            <a:off x="9099164" y="3475952"/>
            <a:ext cx="2160000" cy="702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de-DE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566F8A3A-C182-4262-8ED9-8012733FA457}"/>
              </a:ext>
            </a:extLst>
          </p:cNvPr>
          <p:cNvSpPr/>
          <p:nvPr/>
        </p:nvSpPr>
        <p:spPr>
          <a:xfrm>
            <a:off x="9099164" y="4206150"/>
            <a:ext cx="2160000" cy="702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de-DE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170" name="Gruppieren 169">
            <a:extLst>
              <a:ext uri="{FF2B5EF4-FFF2-40B4-BE49-F238E27FC236}">
                <a16:creationId xmlns:a16="http://schemas.microsoft.com/office/drawing/2014/main" id="{B7091F61-7899-4BC3-9E67-994F8EC8A974}"/>
              </a:ext>
            </a:extLst>
          </p:cNvPr>
          <p:cNvGrpSpPr/>
          <p:nvPr/>
        </p:nvGrpSpPr>
        <p:grpSpPr>
          <a:xfrm>
            <a:off x="7217062" y="3675481"/>
            <a:ext cx="1524923" cy="302941"/>
            <a:chOff x="3813499" y="5086887"/>
            <a:chExt cx="793446" cy="147193"/>
          </a:xfrm>
        </p:grpSpPr>
        <p:sp>
          <p:nvSpPr>
            <p:cNvPr id="171" name="Ellipse 170">
              <a:extLst>
                <a:ext uri="{FF2B5EF4-FFF2-40B4-BE49-F238E27FC236}">
                  <a16:creationId xmlns:a16="http://schemas.microsoft.com/office/drawing/2014/main" id="{7678355B-17A5-431B-B746-36DABA7271E4}"/>
                </a:ext>
              </a:extLst>
            </p:cNvPr>
            <p:cNvSpPr/>
            <p:nvPr/>
          </p:nvSpPr>
          <p:spPr>
            <a:xfrm rot="16200000">
              <a:off x="3813781" y="5086605"/>
              <a:ext cx="147193" cy="147758"/>
            </a:xfrm>
            <a:prstGeom prst="ellipse">
              <a:avLst/>
            </a:prstGeom>
            <a:noFill/>
            <a:ln w="15875">
              <a:solidFill>
                <a:srgbClr val="777777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891917"/>
              <a:endParaRPr lang="de-DE" sz="1112" dirty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172" name="Ellipse 171">
              <a:extLst>
                <a:ext uri="{FF2B5EF4-FFF2-40B4-BE49-F238E27FC236}">
                  <a16:creationId xmlns:a16="http://schemas.microsoft.com/office/drawing/2014/main" id="{882AE920-600B-4E87-8EE1-B0B1F461C839}"/>
                </a:ext>
              </a:extLst>
            </p:cNvPr>
            <p:cNvSpPr/>
            <p:nvPr/>
          </p:nvSpPr>
          <p:spPr>
            <a:xfrm rot="16200000">
              <a:off x="3905826" y="5086819"/>
              <a:ext cx="147193" cy="147329"/>
            </a:xfrm>
            <a:prstGeom prst="ellipse">
              <a:avLst/>
            </a:prstGeom>
            <a:noFill/>
            <a:ln w="15875">
              <a:solidFill>
                <a:srgbClr val="777777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891917"/>
              <a:endParaRPr lang="de-DE" sz="1112" dirty="0">
                <a:solidFill>
                  <a:prstClr val="black"/>
                </a:solidFill>
                <a:latin typeface="+mj-lt"/>
              </a:endParaRPr>
            </a:p>
          </p:txBody>
        </p:sp>
        <p:cxnSp>
          <p:nvCxnSpPr>
            <p:cNvPr id="173" name="Gerade Verbindung 161">
              <a:extLst>
                <a:ext uri="{FF2B5EF4-FFF2-40B4-BE49-F238E27FC236}">
                  <a16:creationId xmlns:a16="http://schemas.microsoft.com/office/drawing/2014/main" id="{FEBF107C-EF5F-471B-9A8C-D64A014A9E2D}"/>
                </a:ext>
              </a:extLst>
            </p:cNvPr>
            <p:cNvCxnSpPr>
              <a:cxnSpLocks/>
              <a:stCxn id="172" idx="4"/>
            </p:cNvCxnSpPr>
            <p:nvPr/>
          </p:nvCxnSpPr>
          <p:spPr>
            <a:xfrm>
              <a:off x="4053087" y="5160483"/>
              <a:ext cx="553858" cy="0"/>
            </a:xfrm>
            <a:prstGeom prst="line">
              <a:avLst/>
            </a:prstGeom>
            <a:ln w="19050">
              <a:solidFill>
                <a:srgbClr val="77777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Gerade Verbindung 161">
              <a:extLst>
                <a:ext uri="{FF2B5EF4-FFF2-40B4-BE49-F238E27FC236}">
                  <a16:creationId xmlns:a16="http://schemas.microsoft.com/office/drawing/2014/main" id="{8273F29F-48E1-4744-A366-B2936C370FD6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174902" y="5138353"/>
              <a:ext cx="36000" cy="0"/>
            </a:xfrm>
            <a:prstGeom prst="line">
              <a:avLst/>
            </a:prstGeom>
            <a:ln w="19050">
              <a:solidFill>
                <a:srgbClr val="77777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Gerade Verbindung 161">
              <a:extLst>
                <a:ext uri="{FF2B5EF4-FFF2-40B4-BE49-F238E27FC236}">
                  <a16:creationId xmlns:a16="http://schemas.microsoft.com/office/drawing/2014/main" id="{5CEB97D9-828F-4391-BC1F-ECC0D0C3F9CC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234282" y="5182612"/>
              <a:ext cx="36000" cy="0"/>
            </a:xfrm>
            <a:prstGeom prst="line">
              <a:avLst/>
            </a:prstGeom>
            <a:ln w="19050">
              <a:solidFill>
                <a:srgbClr val="77777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 Verbindung 161">
              <a:extLst>
                <a:ext uri="{FF2B5EF4-FFF2-40B4-BE49-F238E27FC236}">
                  <a16:creationId xmlns:a16="http://schemas.microsoft.com/office/drawing/2014/main" id="{CEE09BB0-64B4-444F-AB0C-2E095573CA71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396415" y="5141489"/>
              <a:ext cx="36000" cy="0"/>
            </a:xfrm>
            <a:prstGeom prst="line">
              <a:avLst/>
            </a:prstGeom>
            <a:ln w="19050">
              <a:solidFill>
                <a:srgbClr val="77777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 Verbindung 161">
              <a:extLst>
                <a:ext uri="{FF2B5EF4-FFF2-40B4-BE49-F238E27FC236}">
                  <a16:creationId xmlns:a16="http://schemas.microsoft.com/office/drawing/2014/main" id="{6BB37EE2-90F7-4C89-BBA8-44C783DCFBC5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455795" y="5182662"/>
              <a:ext cx="36000" cy="0"/>
            </a:xfrm>
            <a:prstGeom prst="line">
              <a:avLst/>
            </a:prstGeom>
            <a:ln w="19050">
              <a:solidFill>
                <a:srgbClr val="77777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2" name="Grafik 191">
            <a:extLst>
              <a:ext uri="{FF2B5EF4-FFF2-40B4-BE49-F238E27FC236}">
                <a16:creationId xmlns:a16="http://schemas.microsoft.com/office/drawing/2014/main" id="{B03713DF-1C53-44E7-BB39-B6A2407186B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4840" y="3563776"/>
            <a:ext cx="179259" cy="187439"/>
          </a:xfrm>
          <a:prstGeom prst="rect">
            <a:avLst/>
          </a:prstGeom>
        </p:spPr>
      </p:pic>
      <p:pic>
        <p:nvPicPr>
          <p:cNvPr id="193" name="Grafik 192">
            <a:extLst>
              <a:ext uri="{FF2B5EF4-FFF2-40B4-BE49-F238E27FC236}">
                <a16:creationId xmlns:a16="http://schemas.microsoft.com/office/drawing/2014/main" id="{38D0C153-8F58-4999-903D-7FB37D14FF5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6606" y="4286905"/>
            <a:ext cx="179259" cy="187439"/>
          </a:xfrm>
          <a:prstGeom prst="rect">
            <a:avLst/>
          </a:prstGeom>
        </p:spPr>
      </p:pic>
      <p:grpSp>
        <p:nvGrpSpPr>
          <p:cNvPr id="194" name="Gruppieren 193">
            <a:extLst>
              <a:ext uri="{FF2B5EF4-FFF2-40B4-BE49-F238E27FC236}">
                <a16:creationId xmlns:a16="http://schemas.microsoft.com/office/drawing/2014/main" id="{B78927B2-A12B-4562-A08F-6B0F7A97CA2E}"/>
              </a:ext>
            </a:extLst>
          </p:cNvPr>
          <p:cNvGrpSpPr/>
          <p:nvPr/>
        </p:nvGrpSpPr>
        <p:grpSpPr>
          <a:xfrm>
            <a:off x="7221185" y="2947679"/>
            <a:ext cx="1524923" cy="302941"/>
            <a:chOff x="3813499" y="5086887"/>
            <a:chExt cx="793446" cy="147193"/>
          </a:xfrm>
        </p:grpSpPr>
        <p:sp>
          <p:nvSpPr>
            <p:cNvPr id="195" name="Ellipse 194">
              <a:extLst>
                <a:ext uri="{FF2B5EF4-FFF2-40B4-BE49-F238E27FC236}">
                  <a16:creationId xmlns:a16="http://schemas.microsoft.com/office/drawing/2014/main" id="{E104A060-68C8-4579-9822-6F861843434D}"/>
                </a:ext>
              </a:extLst>
            </p:cNvPr>
            <p:cNvSpPr/>
            <p:nvPr/>
          </p:nvSpPr>
          <p:spPr>
            <a:xfrm rot="16200000">
              <a:off x="3813781" y="5086605"/>
              <a:ext cx="147193" cy="147758"/>
            </a:xfrm>
            <a:prstGeom prst="ellipse">
              <a:avLst/>
            </a:prstGeom>
            <a:noFill/>
            <a:ln w="15875">
              <a:solidFill>
                <a:srgbClr val="777777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891917"/>
              <a:endParaRPr lang="de-DE" sz="1112" dirty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196" name="Ellipse 195">
              <a:extLst>
                <a:ext uri="{FF2B5EF4-FFF2-40B4-BE49-F238E27FC236}">
                  <a16:creationId xmlns:a16="http://schemas.microsoft.com/office/drawing/2014/main" id="{D91484BA-5990-47CC-A933-B4E438BC2D52}"/>
                </a:ext>
              </a:extLst>
            </p:cNvPr>
            <p:cNvSpPr/>
            <p:nvPr/>
          </p:nvSpPr>
          <p:spPr>
            <a:xfrm rot="16200000">
              <a:off x="3905826" y="5086819"/>
              <a:ext cx="147193" cy="147329"/>
            </a:xfrm>
            <a:prstGeom prst="ellipse">
              <a:avLst/>
            </a:prstGeom>
            <a:noFill/>
            <a:ln w="15875">
              <a:solidFill>
                <a:srgbClr val="777777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891917"/>
              <a:endParaRPr lang="de-DE" sz="1112" dirty="0">
                <a:solidFill>
                  <a:prstClr val="black"/>
                </a:solidFill>
                <a:latin typeface="+mj-lt"/>
              </a:endParaRPr>
            </a:p>
          </p:txBody>
        </p:sp>
        <p:cxnSp>
          <p:nvCxnSpPr>
            <p:cNvPr id="197" name="Gerade Verbindung 161">
              <a:extLst>
                <a:ext uri="{FF2B5EF4-FFF2-40B4-BE49-F238E27FC236}">
                  <a16:creationId xmlns:a16="http://schemas.microsoft.com/office/drawing/2014/main" id="{CDEBB25C-3C87-4944-B7A3-64DFEEED05F5}"/>
                </a:ext>
              </a:extLst>
            </p:cNvPr>
            <p:cNvCxnSpPr>
              <a:cxnSpLocks/>
              <a:stCxn id="196" idx="4"/>
            </p:cNvCxnSpPr>
            <p:nvPr/>
          </p:nvCxnSpPr>
          <p:spPr>
            <a:xfrm>
              <a:off x="4053087" y="5160483"/>
              <a:ext cx="553858" cy="0"/>
            </a:xfrm>
            <a:prstGeom prst="line">
              <a:avLst/>
            </a:prstGeom>
            <a:ln w="19050">
              <a:solidFill>
                <a:srgbClr val="77777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Gerade Verbindung 161">
              <a:extLst>
                <a:ext uri="{FF2B5EF4-FFF2-40B4-BE49-F238E27FC236}">
                  <a16:creationId xmlns:a16="http://schemas.microsoft.com/office/drawing/2014/main" id="{F538F7C3-DF07-4835-A94F-44554E073543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174902" y="5138353"/>
              <a:ext cx="36000" cy="0"/>
            </a:xfrm>
            <a:prstGeom prst="line">
              <a:avLst/>
            </a:prstGeom>
            <a:ln w="19050">
              <a:solidFill>
                <a:srgbClr val="77777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Gerade Verbindung 161">
              <a:extLst>
                <a:ext uri="{FF2B5EF4-FFF2-40B4-BE49-F238E27FC236}">
                  <a16:creationId xmlns:a16="http://schemas.microsoft.com/office/drawing/2014/main" id="{D30CB465-5D91-4749-B949-817DE35A33DA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234282" y="5182612"/>
              <a:ext cx="36000" cy="0"/>
            </a:xfrm>
            <a:prstGeom prst="line">
              <a:avLst/>
            </a:prstGeom>
            <a:ln w="19050">
              <a:solidFill>
                <a:srgbClr val="77777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Gerade Verbindung 161">
              <a:extLst>
                <a:ext uri="{FF2B5EF4-FFF2-40B4-BE49-F238E27FC236}">
                  <a16:creationId xmlns:a16="http://schemas.microsoft.com/office/drawing/2014/main" id="{86D3CA37-9957-4A20-BCA1-FE46B3F98828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396415" y="5141489"/>
              <a:ext cx="36000" cy="0"/>
            </a:xfrm>
            <a:prstGeom prst="line">
              <a:avLst/>
            </a:prstGeom>
            <a:ln w="19050">
              <a:solidFill>
                <a:srgbClr val="77777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Gerade Verbindung 161">
              <a:extLst>
                <a:ext uri="{FF2B5EF4-FFF2-40B4-BE49-F238E27FC236}">
                  <a16:creationId xmlns:a16="http://schemas.microsoft.com/office/drawing/2014/main" id="{215B0CD4-9BB8-4DC8-99DD-DA59F52D3035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455795" y="5182662"/>
              <a:ext cx="36000" cy="0"/>
            </a:xfrm>
            <a:prstGeom prst="line">
              <a:avLst/>
            </a:prstGeom>
            <a:ln w="19050">
              <a:solidFill>
                <a:srgbClr val="77777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2" name="Gruppieren 201">
            <a:extLst>
              <a:ext uri="{FF2B5EF4-FFF2-40B4-BE49-F238E27FC236}">
                <a16:creationId xmlns:a16="http://schemas.microsoft.com/office/drawing/2014/main" id="{40B27C39-15AC-4E8D-9EEC-1CC8BFA231FC}"/>
              </a:ext>
            </a:extLst>
          </p:cNvPr>
          <p:cNvGrpSpPr/>
          <p:nvPr/>
        </p:nvGrpSpPr>
        <p:grpSpPr>
          <a:xfrm>
            <a:off x="7221185" y="4405679"/>
            <a:ext cx="1524923" cy="302941"/>
            <a:chOff x="3813499" y="5086887"/>
            <a:chExt cx="793446" cy="147193"/>
          </a:xfrm>
        </p:grpSpPr>
        <p:sp>
          <p:nvSpPr>
            <p:cNvPr id="203" name="Ellipse 202">
              <a:extLst>
                <a:ext uri="{FF2B5EF4-FFF2-40B4-BE49-F238E27FC236}">
                  <a16:creationId xmlns:a16="http://schemas.microsoft.com/office/drawing/2014/main" id="{66BB5B90-EE29-4ED3-9ABD-141B84203D06}"/>
                </a:ext>
              </a:extLst>
            </p:cNvPr>
            <p:cNvSpPr/>
            <p:nvPr/>
          </p:nvSpPr>
          <p:spPr>
            <a:xfrm rot="16200000">
              <a:off x="3813781" y="5086605"/>
              <a:ext cx="147193" cy="147758"/>
            </a:xfrm>
            <a:prstGeom prst="ellipse">
              <a:avLst/>
            </a:prstGeom>
            <a:noFill/>
            <a:ln w="15875">
              <a:solidFill>
                <a:srgbClr val="777777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891917"/>
              <a:endParaRPr lang="de-DE" sz="1112" dirty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204" name="Ellipse 203">
              <a:extLst>
                <a:ext uri="{FF2B5EF4-FFF2-40B4-BE49-F238E27FC236}">
                  <a16:creationId xmlns:a16="http://schemas.microsoft.com/office/drawing/2014/main" id="{134AD9A9-1E73-464A-8E46-08416D427745}"/>
                </a:ext>
              </a:extLst>
            </p:cNvPr>
            <p:cNvSpPr/>
            <p:nvPr/>
          </p:nvSpPr>
          <p:spPr>
            <a:xfrm rot="16200000">
              <a:off x="3905826" y="5086819"/>
              <a:ext cx="147193" cy="147329"/>
            </a:xfrm>
            <a:prstGeom prst="ellipse">
              <a:avLst/>
            </a:prstGeom>
            <a:noFill/>
            <a:ln w="15875">
              <a:solidFill>
                <a:srgbClr val="777777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891917"/>
              <a:endParaRPr lang="de-DE" sz="1112" dirty="0">
                <a:solidFill>
                  <a:prstClr val="black"/>
                </a:solidFill>
                <a:latin typeface="+mj-lt"/>
              </a:endParaRPr>
            </a:p>
          </p:txBody>
        </p:sp>
        <p:cxnSp>
          <p:nvCxnSpPr>
            <p:cNvPr id="205" name="Gerade Verbindung 161">
              <a:extLst>
                <a:ext uri="{FF2B5EF4-FFF2-40B4-BE49-F238E27FC236}">
                  <a16:creationId xmlns:a16="http://schemas.microsoft.com/office/drawing/2014/main" id="{CA4FE614-81DC-43A0-9893-EBCAFC5C96BC}"/>
                </a:ext>
              </a:extLst>
            </p:cNvPr>
            <p:cNvCxnSpPr>
              <a:cxnSpLocks/>
              <a:stCxn id="204" idx="4"/>
            </p:cNvCxnSpPr>
            <p:nvPr/>
          </p:nvCxnSpPr>
          <p:spPr>
            <a:xfrm>
              <a:off x="4053087" y="5160483"/>
              <a:ext cx="553858" cy="0"/>
            </a:xfrm>
            <a:prstGeom prst="line">
              <a:avLst/>
            </a:prstGeom>
            <a:ln w="19050">
              <a:solidFill>
                <a:srgbClr val="77777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Gerade Verbindung 161">
              <a:extLst>
                <a:ext uri="{FF2B5EF4-FFF2-40B4-BE49-F238E27FC236}">
                  <a16:creationId xmlns:a16="http://schemas.microsoft.com/office/drawing/2014/main" id="{93C688E1-849D-458C-830E-CB7F9C0308E0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174902" y="5138353"/>
              <a:ext cx="36000" cy="0"/>
            </a:xfrm>
            <a:prstGeom prst="line">
              <a:avLst/>
            </a:prstGeom>
            <a:ln w="19050">
              <a:solidFill>
                <a:srgbClr val="77777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Gerade Verbindung 161">
              <a:extLst>
                <a:ext uri="{FF2B5EF4-FFF2-40B4-BE49-F238E27FC236}">
                  <a16:creationId xmlns:a16="http://schemas.microsoft.com/office/drawing/2014/main" id="{0C01A41D-36D2-4504-B7C4-3E76E3B4D962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234282" y="5182612"/>
              <a:ext cx="36000" cy="0"/>
            </a:xfrm>
            <a:prstGeom prst="line">
              <a:avLst/>
            </a:prstGeom>
            <a:ln w="19050">
              <a:solidFill>
                <a:srgbClr val="77777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Gerade Verbindung 161">
              <a:extLst>
                <a:ext uri="{FF2B5EF4-FFF2-40B4-BE49-F238E27FC236}">
                  <a16:creationId xmlns:a16="http://schemas.microsoft.com/office/drawing/2014/main" id="{ADCAB55F-F047-458E-B6D6-CD409E3381EA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396415" y="5141489"/>
              <a:ext cx="36000" cy="0"/>
            </a:xfrm>
            <a:prstGeom prst="line">
              <a:avLst/>
            </a:prstGeom>
            <a:ln w="19050">
              <a:solidFill>
                <a:srgbClr val="77777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Gerade Verbindung 161">
              <a:extLst>
                <a:ext uri="{FF2B5EF4-FFF2-40B4-BE49-F238E27FC236}">
                  <a16:creationId xmlns:a16="http://schemas.microsoft.com/office/drawing/2014/main" id="{55CF6AFC-B410-4141-A76B-16D1DD9CCA8D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455795" y="5182662"/>
              <a:ext cx="36000" cy="0"/>
            </a:xfrm>
            <a:prstGeom prst="line">
              <a:avLst/>
            </a:prstGeom>
            <a:ln w="19050">
              <a:solidFill>
                <a:srgbClr val="77777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0" name="Grafik 209">
            <a:extLst>
              <a:ext uri="{FF2B5EF4-FFF2-40B4-BE49-F238E27FC236}">
                <a16:creationId xmlns:a16="http://schemas.microsoft.com/office/drawing/2014/main" id="{94A91789-2F72-4D7C-8202-6963A9061B9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8058" y="4639925"/>
            <a:ext cx="179259" cy="187439"/>
          </a:xfrm>
          <a:prstGeom prst="rect">
            <a:avLst/>
          </a:prstGeom>
        </p:spPr>
      </p:pic>
      <p:pic>
        <p:nvPicPr>
          <p:cNvPr id="211" name="Grafik 210">
            <a:extLst>
              <a:ext uri="{FF2B5EF4-FFF2-40B4-BE49-F238E27FC236}">
                <a16:creationId xmlns:a16="http://schemas.microsoft.com/office/drawing/2014/main" id="{5B161967-EF20-46E9-8545-F1A217FAE1E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6454" y="3902782"/>
            <a:ext cx="179259" cy="187439"/>
          </a:xfrm>
          <a:prstGeom prst="rect">
            <a:avLst/>
          </a:prstGeom>
        </p:spPr>
      </p:pic>
      <p:pic>
        <p:nvPicPr>
          <p:cNvPr id="212" name="Grafik 211">
            <a:extLst>
              <a:ext uri="{FF2B5EF4-FFF2-40B4-BE49-F238E27FC236}">
                <a16:creationId xmlns:a16="http://schemas.microsoft.com/office/drawing/2014/main" id="{6093710C-C215-450D-B64B-32E8A89C1A0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728" y="3902685"/>
            <a:ext cx="179259" cy="187439"/>
          </a:xfrm>
          <a:prstGeom prst="rect">
            <a:avLst/>
          </a:prstGeom>
        </p:spPr>
      </p:pic>
      <p:pic>
        <p:nvPicPr>
          <p:cNvPr id="213" name="Grafik 212">
            <a:extLst>
              <a:ext uri="{FF2B5EF4-FFF2-40B4-BE49-F238E27FC236}">
                <a16:creationId xmlns:a16="http://schemas.microsoft.com/office/drawing/2014/main" id="{33585029-A6FA-4F3E-A0B7-717ADEABCB6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6927" y="4628352"/>
            <a:ext cx="179259" cy="187439"/>
          </a:xfrm>
          <a:prstGeom prst="rect">
            <a:avLst/>
          </a:prstGeom>
        </p:spPr>
      </p:pic>
      <p:pic>
        <p:nvPicPr>
          <p:cNvPr id="221" name="Grafik 220">
            <a:extLst>
              <a:ext uri="{FF2B5EF4-FFF2-40B4-BE49-F238E27FC236}">
                <a16:creationId xmlns:a16="http://schemas.microsoft.com/office/drawing/2014/main" id="{37091071-CBE7-46B6-B693-2CF30E65BF1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5141" y="3156900"/>
            <a:ext cx="179259" cy="187439"/>
          </a:xfrm>
          <a:prstGeom prst="rect">
            <a:avLst/>
          </a:prstGeom>
        </p:spPr>
      </p:pic>
      <p:pic>
        <p:nvPicPr>
          <p:cNvPr id="243" name="Grafik 242">
            <a:extLst>
              <a:ext uri="{FF2B5EF4-FFF2-40B4-BE49-F238E27FC236}">
                <a16:creationId xmlns:a16="http://schemas.microsoft.com/office/drawing/2014/main" id="{4F058434-9E13-4EE7-A955-32F116A7004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0192" y="3607837"/>
            <a:ext cx="140789" cy="159253"/>
          </a:xfrm>
          <a:prstGeom prst="rect">
            <a:avLst/>
          </a:prstGeom>
        </p:spPr>
      </p:pic>
      <p:pic>
        <p:nvPicPr>
          <p:cNvPr id="245" name="Grafik 244">
            <a:extLst>
              <a:ext uri="{FF2B5EF4-FFF2-40B4-BE49-F238E27FC236}">
                <a16:creationId xmlns:a16="http://schemas.microsoft.com/office/drawing/2014/main" id="{1C4925AE-09B2-47D4-A5BF-B16559C039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193" y="4326692"/>
            <a:ext cx="140789" cy="159253"/>
          </a:xfrm>
          <a:prstGeom prst="rect">
            <a:avLst/>
          </a:prstGeom>
        </p:spPr>
      </p:pic>
      <p:pic>
        <p:nvPicPr>
          <p:cNvPr id="246" name="Grafik 245">
            <a:extLst>
              <a:ext uri="{FF2B5EF4-FFF2-40B4-BE49-F238E27FC236}">
                <a16:creationId xmlns:a16="http://schemas.microsoft.com/office/drawing/2014/main" id="{928F4804-A380-4662-AA7F-67A46154A9C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447077">
            <a:off x="7913495" y="4242582"/>
            <a:ext cx="144000" cy="137408"/>
          </a:xfrm>
          <a:prstGeom prst="rect">
            <a:avLst/>
          </a:prstGeom>
        </p:spPr>
      </p:pic>
      <p:pic>
        <p:nvPicPr>
          <p:cNvPr id="247" name="Grafik 246">
            <a:extLst>
              <a:ext uri="{FF2B5EF4-FFF2-40B4-BE49-F238E27FC236}">
                <a16:creationId xmlns:a16="http://schemas.microsoft.com/office/drawing/2014/main" id="{7F4D91AB-640B-43FA-BA0B-B158832B7DB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8630" y="4695068"/>
            <a:ext cx="138643" cy="132296"/>
          </a:xfrm>
          <a:prstGeom prst="rect">
            <a:avLst/>
          </a:prstGeom>
        </p:spPr>
      </p:pic>
      <p:pic>
        <p:nvPicPr>
          <p:cNvPr id="248" name="Grafik 247">
            <a:extLst>
              <a:ext uri="{FF2B5EF4-FFF2-40B4-BE49-F238E27FC236}">
                <a16:creationId xmlns:a16="http://schemas.microsoft.com/office/drawing/2014/main" id="{64297AD2-7221-4E92-A37B-83143878A9D6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3049" y="4605432"/>
            <a:ext cx="252000" cy="240464"/>
          </a:xfrm>
          <a:prstGeom prst="rect">
            <a:avLst/>
          </a:prstGeom>
        </p:spPr>
      </p:pic>
      <p:grpSp>
        <p:nvGrpSpPr>
          <p:cNvPr id="250" name="Gruppieren 249">
            <a:extLst>
              <a:ext uri="{FF2B5EF4-FFF2-40B4-BE49-F238E27FC236}">
                <a16:creationId xmlns:a16="http://schemas.microsoft.com/office/drawing/2014/main" id="{7800F011-74D4-4BDF-998D-F2B01C32784F}"/>
              </a:ext>
            </a:extLst>
          </p:cNvPr>
          <p:cNvGrpSpPr/>
          <p:nvPr/>
        </p:nvGrpSpPr>
        <p:grpSpPr>
          <a:xfrm>
            <a:off x="9937583" y="2788921"/>
            <a:ext cx="483161" cy="605033"/>
            <a:chOff x="8003899" y="1321887"/>
            <a:chExt cx="483161" cy="605033"/>
          </a:xfrm>
        </p:grpSpPr>
        <p:pic>
          <p:nvPicPr>
            <p:cNvPr id="240" name="Grafik 239">
              <a:extLst>
                <a:ext uri="{FF2B5EF4-FFF2-40B4-BE49-F238E27FC236}">
                  <a16:creationId xmlns:a16="http://schemas.microsoft.com/office/drawing/2014/main" id="{5655DA77-FEFB-45DF-9E16-4BFAA2E38E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23725" y="1593738"/>
              <a:ext cx="185876" cy="177367"/>
            </a:xfrm>
            <a:prstGeom prst="rect">
              <a:avLst/>
            </a:prstGeom>
          </p:spPr>
        </p:pic>
        <p:pic>
          <p:nvPicPr>
            <p:cNvPr id="241" name="Grafik 240">
              <a:extLst>
                <a:ext uri="{FF2B5EF4-FFF2-40B4-BE49-F238E27FC236}">
                  <a16:creationId xmlns:a16="http://schemas.microsoft.com/office/drawing/2014/main" id="{F5FDC6ED-2D59-4CA5-B20B-3630D818338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03899" y="1321887"/>
              <a:ext cx="252000" cy="240464"/>
            </a:xfrm>
            <a:prstGeom prst="rect">
              <a:avLst/>
            </a:prstGeom>
          </p:spPr>
        </p:pic>
        <p:pic>
          <p:nvPicPr>
            <p:cNvPr id="242" name="Grafik 241">
              <a:extLst>
                <a:ext uri="{FF2B5EF4-FFF2-40B4-BE49-F238E27FC236}">
                  <a16:creationId xmlns:a16="http://schemas.microsoft.com/office/drawing/2014/main" id="{C6FFFA05-C39E-46C9-A90D-302275B7A3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61899" y="1388422"/>
              <a:ext cx="171538" cy="163685"/>
            </a:xfrm>
            <a:prstGeom prst="rect">
              <a:avLst/>
            </a:prstGeom>
          </p:spPr>
        </p:pic>
        <p:pic>
          <p:nvPicPr>
            <p:cNvPr id="244" name="Grafik 243">
              <a:extLst>
                <a:ext uri="{FF2B5EF4-FFF2-40B4-BE49-F238E27FC236}">
                  <a16:creationId xmlns:a16="http://schemas.microsoft.com/office/drawing/2014/main" id="{87A9445E-147A-4FF8-B6E4-46B4FBD0A8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35060" y="1551183"/>
              <a:ext cx="252000" cy="240464"/>
            </a:xfrm>
            <a:prstGeom prst="rect">
              <a:avLst/>
            </a:prstGeom>
          </p:spPr>
        </p:pic>
        <p:pic>
          <p:nvPicPr>
            <p:cNvPr id="249" name="Grafik 248">
              <a:extLst>
                <a:ext uri="{FF2B5EF4-FFF2-40B4-BE49-F238E27FC236}">
                  <a16:creationId xmlns:a16="http://schemas.microsoft.com/office/drawing/2014/main" id="{868FABA1-5786-42DA-80B9-1822E9773E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51214" y="1802389"/>
              <a:ext cx="180000" cy="124531"/>
            </a:xfrm>
            <a:prstGeom prst="rect">
              <a:avLst/>
            </a:prstGeom>
          </p:spPr>
        </p:pic>
      </p:grpSp>
      <p:grpSp>
        <p:nvGrpSpPr>
          <p:cNvPr id="251" name="Gruppieren 250">
            <a:extLst>
              <a:ext uri="{FF2B5EF4-FFF2-40B4-BE49-F238E27FC236}">
                <a16:creationId xmlns:a16="http://schemas.microsoft.com/office/drawing/2014/main" id="{E38D96A2-9FFC-4683-88C6-BFF907D34B4A}"/>
              </a:ext>
            </a:extLst>
          </p:cNvPr>
          <p:cNvGrpSpPr/>
          <p:nvPr/>
        </p:nvGrpSpPr>
        <p:grpSpPr>
          <a:xfrm>
            <a:off x="9933788" y="3510251"/>
            <a:ext cx="483161" cy="605033"/>
            <a:chOff x="8003899" y="1321887"/>
            <a:chExt cx="483161" cy="605033"/>
          </a:xfrm>
        </p:grpSpPr>
        <p:pic>
          <p:nvPicPr>
            <p:cNvPr id="252" name="Grafik 251">
              <a:extLst>
                <a:ext uri="{FF2B5EF4-FFF2-40B4-BE49-F238E27FC236}">
                  <a16:creationId xmlns:a16="http://schemas.microsoft.com/office/drawing/2014/main" id="{B81289ED-D443-44F1-BFFC-8F166802EE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23725" y="1593738"/>
              <a:ext cx="185876" cy="177367"/>
            </a:xfrm>
            <a:prstGeom prst="rect">
              <a:avLst/>
            </a:prstGeom>
          </p:spPr>
        </p:pic>
        <p:pic>
          <p:nvPicPr>
            <p:cNvPr id="253" name="Grafik 252">
              <a:extLst>
                <a:ext uri="{FF2B5EF4-FFF2-40B4-BE49-F238E27FC236}">
                  <a16:creationId xmlns:a16="http://schemas.microsoft.com/office/drawing/2014/main" id="{581B46A5-6CA5-4E37-A6BA-F534266D6F9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03899" y="1321887"/>
              <a:ext cx="252000" cy="240464"/>
            </a:xfrm>
            <a:prstGeom prst="rect">
              <a:avLst/>
            </a:prstGeom>
          </p:spPr>
        </p:pic>
        <p:pic>
          <p:nvPicPr>
            <p:cNvPr id="254" name="Grafik 253">
              <a:extLst>
                <a:ext uri="{FF2B5EF4-FFF2-40B4-BE49-F238E27FC236}">
                  <a16:creationId xmlns:a16="http://schemas.microsoft.com/office/drawing/2014/main" id="{DF3EEE73-13FA-4186-AD6E-85282B5F92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61899" y="1388422"/>
              <a:ext cx="171538" cy="163685"/>
            </a:xfrm>
            <a:prstGeom prst="rect">
              <a:avLst/>
            </a:prstGeom>
          </p:spPr>
        </p:pic>
        <p:pic>
          <p:nvPicPr>
            <p:cNvPr id="255" name="Grafik 254">
              <a:extLst>
                <a:ext uri="{FF2B5EF4-FFF2-40B4-BE49-F238E27FC236}">
                  <a16:creationId xmlns:a16="http://schemas.microsoft.com/office/drawing/2014/main" id="{FDC719A1-E51D-4DA3-90CC-A3AB8E6B84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35060" y="1551183"/>
              <a:ext cx="252000" cy="240464"/>
            </a:xfrm>
            <a:prstGeom prst="rect">
              <a:avLst/>
            </a:prstGeom>
          </p:spPr>
        </p:pic>
        <p:pic>
          <p:nvPicPr>
            <p:cNvPr id="256" name="Grafik 255">
              <a:extLst>
                <a:ext uri="{FF2B5EF4-FFF2-40B4-BE49-F238E27FC236}">
                  <a16:creationId xmlns:a16="http://schemas.microsoft.com/office/drawing/2014/main" id="{2CE38EEF-6917-4647-9193-E023455AD4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1688" y="1802389"/>
              <a:ext cx="180000" cy="124531"/>
            </a:xfrm>
            <a:prstGeom prst="rect">
              <a:avLst/>
            </a:prstGeom>
          </p:spPr>
        </p:pic>
      </p:grpSp>
      <p:pic>
        <p:nvPicPr>
          <p:cNvPr id="257" name="Grafik 256">
            <a:extLst>
              <a:ext uri="{FF2B5EF4-FFF2-40B4-BE49-F238E27FC236}">
                <a16:creationId xmlns:a16="http://schemas.microsoft.com/office/drawing/2014/main" id="{2F9E5317-D749-473D-BF2E-8F4F38D2D82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4375" y="2863758"/>
            <a:ext cx="140789" cy="159253"/>
          </a:xfrm>
          <a:prstGeom prst="rect">
            <a:avLst/>
          </a:prstGeom>
        </p:spPr>
      </p:pic>
      <p:grpSp>
        <p:nvGrpSpPr>
          <p:cNvPr id="301" name="Gruppieren 300">
            <a:extLst>
              <a:ext uri="{FF2B5EF4-FFF2-40B4-BE49-F238E27FC236}">
                <a16:creationId xmlns:a16="http://schemas.microsoft.com/office/drawing/2014/main" id="{B5C28922-BCB7-4BCE-AEB1-4C11044F2ED9}"/>
              </a:ext>
            </a:extLst>
          </p:cNvPr>
          <p:cNvGrpSpPr/>
          <p:nvPr/>
        </p:nvGrpSpPr>
        <p:grpSpPr>
          <a:xfrm>
            <a:off x="10727303" y="2982851"/>
            <a:ext cx="251124" cy="284186"/>
            <a:chOff x="10725284" y="2961439"/>
            <a:chExt cx="251124" cy="284186"/>
          </a:xfrm>
        </p:grpSpPr>
        <p:grpSp>
          <p:nvGrpSpPr>
            <p:cNvPr id="258" name="Gruppieren 257">
              <a:extLst>
                <a:ext uri="{FF2B5EF4-FFF2-40B4-BE49-F238E27FC236}">
                  <a16:creationId xmlns:a16="http://schemas.microsoft.com/office/drawing/2014/main" id="{8142E70B-5BF2-45EE-B251-73240675F16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893934" y="3068299"/>
              <a:ext cx="82474" cy="177326"/>
              <a:chOff x="2623147" y="1393713"/>
              <a:chExt cx="1926939" cy="4143158"/>
            </a:xfrm>
            <a:solidFill>
              <a:srgbClr val="7D7D7D"/>
            </a:solidFill>
          </p:grpSpPr>
          <p:sp>
            <p:nvSpPr>
              <p:cNvPr id="259" name="Abgerundetes Rechteck 241">
                <a:extLst>
                  <a:ext uri="{FF2B5EF4-FFF2-40B4-BE49-F238E27FC236}">
                    <a16:creationId xmlns:a16="http://schemas.microsoft.com/office/drawing/2014/main" id="{9B2959C5-33FF-4A56-8EA4-938F22B743DD}"/>
                  </a:ext>
                </a:extLst>
              </p:cNvPr>
              <p:cNvSpPr/>
              <p:nvPr/>
            </p:nvSpPr>
            <p:spPr>
              <a:xfrm rot="13586498">
                <a:off x="3299701" y="3032258"/>
                <a:ext cx="1505144" cy="244492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260" name="Abgerundetes Rechteck 242">
                <a:extLst>
                  <a:ext uri="{FF2B5EF4-FFF2-40B4-BE49-F238E27FC236}">
                    <a16:creationId xmlns:a16="http://schemas.microsoft.com/office/drawing/2014/main" id="{1BB8FDCB-E806-4AF7-BAEF-7762854BC591}"/>
                  </a:ext>
                </a:extLst>
              </p:cNvPr>
              <p:cNvSpPr/>
              <p:nvPr/>
            </p:nvSpPr>
            <p:spPr>
              <a:xfrm rot="18159370">
                <a:off x="2190648" y="4297516"/>
                <a:ext cx="2078661" cy="400050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261" name="Abgerundetes Rechteck 243">
                <a:extLst>
                  <a:ext uri="{FF2B5EF4-FFF2-40B4-BE49-F238E27FC236}">
                    <a16:creationId xmlns:a16="http://schemas.microsoft.com/office/drawing/2014/main" id="{77E18195-E00E-49E0-A87D-747A56A7A888}"/>
                  </a:ext>
                </a:extLst>
              </p:cNvPr>
              <p:cNvSpPr/>
              <p:nvPr/>
            </p:nvSpPr>
            <p:spPr>
              <a:xfrm rot="16200000">
                <a:off x="2605082" y="2788076"/>
                <a:ext cx="2078661" cy="793376"/>
              </a:xfrm>
              <a:prstGeom prst="roundRect">
                <a:avLst>
                  <a:gd name="adj" fmla="val 45238"/>
                </a:avLst>
              </a:prstGeom>
              <a:grp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262" name="Abgerundetes Rechteck 244">
                <a:extLst>
                  <a:ext uri="{FF2B5EF4-FFF2-40B4-BE49-F238E27FC236}">
                    <a16:creationId xmlns:a16="http://schemas.microsoft.com/office/drawing/2014/main" id="{D2130555-A146-4042-822A-B1F07C098777}"/>
                  </a:ext>
                </a:extLst>
              </p:cNvPr>
              <p:cNvSpPr/>
              <p:nvPr/>
            </p:nvSpPr>
            <p:spPr>
              <a:xfrm rot="13947735">
                <a:off x="3396267" y="4024071"/>
                <a:ext cx="1243503" cy="400050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263" name="Abgerundetes Rechteck 245">
                <a:extLst>
                  <a:ext uri="{FF2B5EF4-FFF2-40B4-BE49-F238E27FC236}">
                    <a16:creationId xmlns:a16="http://schemas.microsoft.com/office/drawing/2014/main" id="{DA7DC650-10FE-4C19-9754-E1C79E89B9D4}"/>
                  </a:ext>
                </a:extLst>
              </p:cNvPr>
              <p:cNvSpPr/>
              <p:nvPr/>
            </p:nvSpPr>
            <p:spPr>
              <a:xfrm rot="15490463">
                <a:off x="3806964" y="4743828"/>
                <a:ext cx="1106660" cy="379585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264" name="Ellipse 263">
                <a:extLst>
                  <a:ext uri="{FF2B5EF4-FFF2-40B4-BE49-F238E27FC236}">
                    <a16:creationId xmlns:a16="http://schemas.microsoft.com/office/drawing/2014/main" id="{EDA257DE-214B-4651-B1C7-6F3996573E09}"/>
                  </a:ext>
                </a:extLst>
              </p:cNvPr>
              <p:cNvSpPr/>
              <p:nvPr/>
            </p:nvSpPr>
            <p:spPr>
              <a:xfrm>
                <a:off x="3423525" y="1393713"/>
                <a:ext cx="689602" cy="6912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265" name="Abgerundetes Rechteck 247">
                <a:extLst>
                  <a:ext uri="{FF2B5EF4-FFF2-40B4-BE49-F238E27FC236}">
                    <a16:creationId xmlns:a16="http://schemas.microsoft.com/office/drawing/2014/main" id="{4CBF2FDD-42AD-4F17-AD86-C5A5FE764236}"/>
                  </a:ext>
                </a:extLst>
              </p:cNvPr>
              <p:cNvSpPr/>
              <p:nvPr/>
            </p:nvSpPr>
            <p:spPr>
              <a:xfrm rot="8753946">
                <a:off x="2707572" y="2568703"/>
                <a:ext cx="948294" cy="244492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266" name="Abgerundetes Rechteck 248">
                <a:extLst>
                  <a:ext uri="{FF2B5EF4-FFF2-40B4-BE49-F238E27FC236}">
                    <a16:creationId xmlns:a16="http://schemas.microsoft.com/office/drawing/2014/main" id="{22F2F9F3-DB4F-4F38-9A56-8D95F5712CC5}"/>
                  </a:ext>
                </a:extLst>
              </p:cNvPr>
              <p:cNvSpPr/>
              <p:nvPr/>
            </p:nvSpPr>
            <p:spPr>
              <a:xfrm rot="6512919">
                <a:off x="2279225" y="3136163"/>
                <a:ext cx="932336" cy="244492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</p:grpSp>
        <p:grpSp>
          <p:nvGrpSpPr>
            <p:cNvPr id="269" name="Gruppieren 268">
              <a:extLst>
                <a:ext uri="{FF2B5EF4-FFF2-40B4-BE49-F238E27FC236}">
                  <a16:creationId xmlns:a16="http://schemas.microsoft.com/office/drawing/2014/main" id="{76B73E41-200C-4C7C-B913-C567713C26B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725284" y="2961439"/>
              <a:ext cx="172428" cy="172582"/>
              <a:chOff x="527997" y="2834137"/>
              <a:chExt cx="1014294" cy="1015200"/>
            </a:xfrm>
            <a:solidFill>
              <a:srgbClr val="7D7D7D"/>
            </a:solidFill>
          </p:grpSpPr>
          <p:grpSp>
            <p:nvGrpSpPr>
              <p:cNvPr id="271" name="Gruppieren 270">
                <a:extLst>
                  <a:ext uri="{FF2B5EF4-FFF2-40B4-BE49-F238E27FC236}">
                    <a16:creationId xmlns:a16="http://schemas.microsoft.com/office/drawing/2014/main" id="{CE71AA43-05F0-4506-8749-D7D63F7278C4}"/>
                  </a:ext>
                </a:extLst>
              </p:cNvPr>
              <p:cNvGrpSpPr/>
              <p:nvPr/>
            </p:nvGrpSpPr>
            <p:grpSpPr>
              <a:xfrm>
                <a:off x="527997" y="2834137"/>
                <a:ext cx="1014294" cy="1015200"/>
                <a:chOff x="7482838" y="4551044"/>
                <a:chExt cx="733425" cy="777932"/>
              </a:xfrm>
              <a:grpFill/>
            </p:grpSpPr>
            <p:grpSp>
              <p:nvGrpSpPr>
                <p:cNvPr id="276" name="Gruppieren 275">
                  <a:extLst>
                    <a:ext uri="{FF2B5EF4-FFF2-40B4-BE49-F238E27FC236}">
                      <a16:creationId xmlns:a16="http://schemas.microsoft.com/office/drawing/2014/main" id="{1BDF622C-A74B-4DB5-BB2C-6A7B69B99AC0}"/>
                    </a:ext>
                  </a:extLst>
                </p:cNvPr>
                <p:cNvGrpSpPr/>
                <p:nvPr/>
              </p:nvGrpSpPr>
              <p:grpSpPr>
                <a:xfrm>
                  <a:off x="7482838" y="4551044"/>
                  <a:ext cx="733425" cy="777932"/>
                  <a:chOff x="7278255" y="4462289"/>
                  <a:chExt cx="960870" cy="1031675"/>
                </a:xfrm>
                <a:grpFill/>
              </p:grpSpPr>
              <p:sp>
                <p:nvSpPr>
                  <p:cNvPr id="278" name="Rad 46">
                    <a:extLst>
                      <a:ext uri="{FF2B5EF4-FFF2-40B4-BE49-F238E27FC236}">
                        <a16:creationId xmlns:a16="http://schemas.microsoft.com/office/drawing/2014/main" id="{FA94B2F4-30E6-496A-B615-70A2A0D9489F}"/>
                      </a:ext>
                    </a:extLst>
                  </p:cNvPr>
                  <p:cNvSpPr/>
                  <p:nvPr/>
                </p:nvSpPr>
                <p:spPr>
                  <a:xfrm>
                    <a:off x="7278255" y="4462289"/>
                    <a:ext cx="960870" cy="1031675"/>
                  </a:xfrm>
                  <a:prstGeom prst="donut">
                    <a:avLst>
                      <a:gd name="adj" fmla="val 8851"/>
                    </a:avLst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14400" fontAlgn="base">
                      <a:lnSpc>
                        <a:spcPct val="114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bg-BG" dirty="0">
                      <a:solidFill>
                        <a:prstClr val="black"/>
                      </a:solidFill>
                      <a:latin typeface="+mj-lt"/>
                    </a:endParaRPr>
                  </a:p>
                </p:txBody>
              </p:sp>
              <p:cxnSp>
                <p:nvCxnSpPr>
                  <p:cNvPr id="279" name="Gerade Verbindung mit Pfeil 278">
                    <a:extLst>
                      <a:ext uri="{FF2B5EF4-FFF2-40B4-BE49-F238E27FC236}">
                        <a16:creationId xmlns:a16="http://schemas.microsoft.com/office/drawing/2014/main" id="{5FC26821-20E8-4457-AA3D-C33734214ADF}"/>
                      </a:ext>
                    </a:extLst>
                  </p:cNvPr>
                  <p:cNvCxnSpPr/>
                  <p:nvPr/>
                </p:nvCxnSpPr>
                <p:spPr>
                  <a:xfrm>
                    <a:off x="7747508" y="4968875"/>
                    <a:ext cx="287533" cy="0"/>
                  </a:xfrm>
                  <a:prstGeom prst="straightConnector1">
                    <a:avLst/>
                  </a:prstGeom>
                  <a:grpFill/>
                  <a:ln w="12700">
                    <a:headEnd type="none" w="med" len="med"/>
                    <a:tailEnd type="none" w="med" len="med"/>
                  </a:ln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80" name="Gerade Verbindung mit Pfeil 279">
                    <a:extLst>
                      <a:ext uri="{FF2B5EF4-FFF2-40B4-BE49-F238E27FC236}">
                        <a16:creationId xmlns:a16="http://schemas.microsoft.com/office/drawing/2014/main" id="{67A37138-AADD-48F8-ACF0-63C6ADC9CEE4}"/>
                      </a:ext>
                    </a:extLst>
                  </p:cNvPr>
                  <p:cNvCxnSpPr/>
                  <p:nvPr/>
                </p:nvCxnSpPr>
                <p:spPr>
                  <a:xfrm flipH="1" flipV="1">
                    <a:off x="7567879" y="4650024"/>
                    <a:ext cx="204079" cy="322806"/>
                  </a:xfrm>
                  <a:prstGeom prst="straightConnector1">
                    <a:avLst/>
                  </a:prstGeom>
                  <a:grpFill/>
                  <a:ln w="12700">
                    <a:headEnd type="none" w="med" len="med"/>
                    <a:tailEnd type="none" w="med" len="med"/>
                  </a:ln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277" name="Flussdiagramm: Verbinder 276">
                  <a:extLst>
                    <a:ext uri="{FF2B5EF4-FFF2-40B4-BE49-F238E27FC236}">
                      <a16:creationId xmlns:a16="http://schemas.microsoft.com/office/drawing/2014/main" id="{BF487624-9AE5-4155-B862-DB901941DDBE}"/>
                    </a:ext>
                  </a:extLst>
                </p:cNvPr>
                <p:cNvSpPr/>
                <p:nvPr/>
              </p:nvSpPr>
              <p:spPr>
                <a:xfrm>
                  <a:off x="7826690" y="4911393"/>
                  <a:ext cx="45719" cy="47625"/>
                </a:xfrm>
                <a:prstGeom prst="flowChartConnector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bg-BG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</p:grpSp>
          <p:cxnSp>
            <p:nvCxnSpPr>
              <p:cNvPr id="272" name="Gerader Verbinder 271">
                <a:extLst>
                  <a:ext uri="{FF2B5EF4-FFF2-40B4-BE49-F238E27FC236}">
                    <a16:creationId xmlns:a16="http://schemas.microsoft.com/office/drawing/2014/main" id="{C4E27216-C18B-4B6C-A617-8CE49972E51E}"/>
                  </a:ext>
                </a:extLst>
              </p:cNvPr>
              <p:cNvCxnSpPr/>
              <p:nvPr/>
            </p:nvCxnSpPr>
            <p:spPr>
              <a:xfrm>
                <a:off x="1035142" y="3681768"/>
                <a:ext cx="2" cy="152191"/>
              </a:xfrm>
              <a:prstGeom prst="line">
                <a:avLst/>
              </a:prstGeom>
              <a:grpFill/>
              <a:ln>
                <a:solidFill>
                  <a:srgbClr val="00284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3" name="Gerader Verbinder 272">
                <a:extLst>
                  <a:ext uri="{FF2B5EF4-FFF2-40B4-BE49-F238E27FC236}">
                    <a16:creationId xmlns:a16="http://schemas.microsoft.com/office/drawing/2014/main" id="{C0B755D5-C0CB-4B09-827A-58EE3447E4CC}"/>
                  </a:ext>
                </a:extLst>
              </p:cNvPr>
              <p:cNvCxnSpPr/>
              <p:nvPr/>
            </p:nvCxnSpPr>
            <p:spPr>
              <a:xfrm>
                <a:off x="1038340" y="2852678"/>
                <a:ext cx="2" cy="152191"/>
              </a:xfrm>
              <a:prstGeom prst="line">
                <a:avLst/>
              </a:prstGeom>
              <a:grpFill/>
              <a:ln>
                <a:solidFill>
                  <a:srgbClr val="00284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4" name="Gerader Verbinder 273">
                <a:extLst>
                  <a:ext uri="{FF2B5EF4-FFF2-40B4-BE49-F238E27FC236}">
                    <a16:creationId xmlns:a16="http://schemas.microsoft.com/office/drawing/2014/main" id="{80D414DB-D5EB-4C19-8673-BB997E1CC944}"/>
                  </a:ext>
                </a:extLst>
              </p:cNvPr>
              <p:cNvCxnSpPr/>
              <p:nvPr/>
            </p:nvCxnSpPr>
            <p:spPr>
              <a:xfrm flipH="1">
                <a:off x="545459" y="3341737"/>
                <a:ext cx="151200" cy="0"/>
              </a:xfrm>
              <a:prstGeom prst="line">
                <a:avLst/>
              </a:prstGeom>
              <a:grpFill/>
              <a:ln>
                <a:solidFill>
                  <a:srgbClr val="00284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5" name="Gerader Verbinder 274">
                <a:extLst>
                  <a:ext uri="{FF2B5EF4-FFF2-40B4-BE49-F238E27FC236}">
                    <a16:creationId xmlns:a16="http://schemas.microsoft.com/office/drawing/2014/main" id="{7C0B1F75-254D-4CB0-876E-08761D59171F}"/>
                  </a:ext>
                </a:extLst>
              </p:cNvPr>
              <p:cNvCxnSpPr/>
              <p:nvPr/>
            </p:nvCxnSpPr>
            <p:spPr>
              <a:xfrm flipH="1">
                <a:off x="1368866" y="3332633"/>
                <a:ext cx="151200" cy="0"/>
              </a:xfrm>
              <a:prstGeom prst="line">
                <a:avLst/>
              </a:prstGeom>
              <a:grpFill/>
              <a:ln>
                <a:solidFill>
                  <a:srgbClr val="00284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02" name="Gruppieren 301">
            <a:extLst>
              <a:ext uri="{FF2B5EF4-FFF2-40B4-BE49-F238E27FC236}">
                <a16:creationId xmlns:a16="http://schemas.microsoft.com/office/drawing/2014/main" id="{93594429-D03A-4C52-95CF-75E80452072E}"/>
              </a:ext>
            </a:extLst>
          </p:cNvPr>
          <p:cNvGrpSpPr/>
          <p:nvPr/>
        </p:nvGrpSpPr>
        <p:grpSpPr>
          <a:xfrm>
            <a:off x="10734902" y="3657495"/>
            <a:ext cx="251124" cy="284186"/>
            <a:chOff x="10725284" y="2961439"/>
            <a:chExt cx="251124" cy="284186"/>
          </a:xfrm>
        </p:grpSpPr>
        <p:grpSp>
          <p:nvGrpSpPr>
            <p:cNvPr id="303" name="Gruppieren 302">
              <a:extLst>
                <a:ext uri="{FF2B5EF4-FFF2-40B4-BE49-F238E27FC236}">
                  <a16:creationId xmlns:a16="http://schemas.microsoft.com/office/drawing/2014/main" id="{A02E6B8F-5B89-4771-BFED-4787F0954E0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893934" y="3068299"/>
              <a:ext cx="82474" cy="177326"/>
              <a:chOff x="2623147" y="1393713"/>
              <a:chExt cx="1926939" cy="4143158"/>
            </a:xfrm>
            <a:solidFill>
              <a:srgbClr val="7D7D7D"/>
            </a:solidFill>
          </p:grpSpPr>
          <p:sp>
            <p:nvSpPr>
              <p:cNvPr id="315" name="Abgerundetes Rechteck 241">
                <a:extLst>
                  <a:ext uri="{FF2B5EF4-FFF2-40B4-BE49-F238E27FC236}">
                    <a16:creationId xmlns:a16="http://schemas.microsoft.com/office/drawing/2014/main" id="{BB5164DA-BCF6-4394-A9A7-E391DB51FC02}"/>
                  </a:ext>
                </a:extLst>
              </p:cNvPr>
              <p:cNvSpPr/>
              <p:nvPr/>
            </p:nvSpPr>
            <p:spPr>
              <a:xfrm rot="13586498">
                <a:off x="3299701" y="3032258"/>
                <a:ext cx="1505144" cy="244492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316" name="Abgerundetes Rechteck 242">
                <a:extLst>
                  <a:ext uri="{FF2B5EF4-FFF2-40B4-BE49-F238E27FC236}">
                    <a16:creationId xmlns:a16="http://schemas.microsoft.com/office/drawing/2014/main" id="{677C00D7-E9E7-4510-BA48-DE809F2ACC2B}"/>
                  </a:ext>
                </a:extLst>
              </p:cNvPr>
              <p:cNvSpPr/>
              <p:nvPr/>
            </p:nvSpPr>
            <p:spPr>
              <a:xfrm rot="18159370">
                <a:off x="2190648" y="4297516"/>
                <a:ext cx="2078661" cy="400050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317" name="Abgerundetes Rechteck 243">
                <a:extLst>
                  <a:ext uri="{FF2B5EF4-FFF2-40B4-BE49-F238E27FC236}">
                    <a16:creationId xmlns:a16="http://schemas.microsoft.com/office/drawing/2014/main" id="{95E62024-7A5E-412B-B8B8-56985F28483C}"/>
                  </a:ext>
                </a:extLst>
              </p:cNvPr>
              <p:cNvSpPr/>
              <p:nvPr/>
            </p:nvSpPr>
            <p:spPr>
              <a:xfrm rot="16200000">
                <a:off x="2605082" y="2788076"/>
                <a:ext cx="2078661" cy="793376"/>
              </a:xfrm>
              <a:prstGeom prst="roundRect">
                <a:avLst>
                  <a:gd name="adj" fmla="val 45238"/>
                </a:avLst>
              </a:prstGeom>
              <a:grp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318" name="Abgerundetes Rechteck 244">
                <a:extLst>
                  <a:ext uri="{FF2B5EF4-FFF2-40B4-BE49-F238E27FC236}">
                    <a16:creationId xmlns:a16="http://schemas.microsoft.com/office/drawing/2014/main" id="{17C1E972-8215-4FCB-8EEB-CA38BA555D68}"/>
                  </a:ext>
                </a:extLst>
              </p:cNvPr>
              <p:cNvSpPr/>
              <p:nvPr/>
            </p:nvSpPr>
            <p:spPr>
              <a:xfrm rot="13947735">
                <a:off x="3396267" y="4024071"/>
                <a:ext cx="1243503" cy="400050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319" name="Abgerundetes Rechteck 245">
                <a:extLst>
                  <a:ext uri="{FF2B5EF4-FFF2-40B4-BE49-F238E27FC236}">
                    <a16:creationId xmlns:a16="http://schemas.microsoft.com/office/drawing/2014/main" id="{7537E087-9296-43A5-A716-20DAA2EC7434}"/>
                  </a:ext>
                </a:extLst>
              </p:cNvPr>
              <p:cNvSpPr/>
              <p:nvPr/>
            </p:nvSpPr>
            <p:spPr>
              <a:xfrm rot="15490463">
                <a:off x="3806964" y="4743828"/>
                <a:ext cx="1106660" cy="379585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320" name="Ellipse 319">
                <a:extLst>
                  <a:ext uri="{FF2B5EF4-FFF2-40B4-BE49-F238E27FC236}">
                    <a16:creationId xmlns:a16="http://schemas.microsoft.com/office/drawing/2014/main" id="{7DC8B792-626F-4FAF-8F9D-99C19EBF3E36}"/>
                  </a:ext>
                </a:extLst>
              </p:cNvPr>
              <p:cNvSpPr/>
              <p:nvPr/>
            </p:nvSpPr>
            <p:spPr>
              <a:xfrm>
                <a:off x="3423525" y="1393713"/>
                <a:ext cx="689602" cy="6912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321" name="Abgerundetes Rechteck 247">
                <a:extLst>
                  <a:ext uri="{FF2B5EF4-FFF2-40B4-BE49-F238E27FC236}">
                    <a16:creationId xmlns:a16="http://schemas.microsoft.com/office/drawing/2014/main" id="{C3EBE36C-E4FB-43FC-91E9-2651267375B3}"/>
                  </a:ext>
                </a:extLst>
              </p:cNvPr>
              <p:cNvSpPr/>
              <p:nvPr/>
            </p:nvSpPr>
            <p:spPr>
              <a:xfrm rot="8753946">
                <a:off x="2707572" y="2568703"/>
                <a:ext cx="948294" cy="244492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322" name="Abgerundetes Rechteck 248">
                <a:extLst>
                  <a:ext uri="{FF2B5EF4-FFF2-40B4-BE49-F238E27FC236}">
                    <a16:creationId xmlns:a16="http://schemas.microsoft.com/office/drawing/2014/main" id="{37D6238E-959E-4967-B44A-C166285DE0FD}"/>
                  </a:ext>
                </a:extLst>
              </p:cNvPr>
              <p:cNvSpPr/>
              <p:nvPr/>
            </p:nvSpPr>
            <p:spPr>
              <a:xfrm rot="6512919">
                <a:off x="2279225" y="3136163"/>
                <a:ext cx="932336" cy="244492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</p:grpSp>
        <p:grpSp>
          <p:nvGrpSpPr>
            <p:cNvPr id="304" name="Gruppieren 303">
              <a:extLst>
                <a:ext uri="{FF2B5EF4-FFF2-40B4-BE49-F238E27FC236}">
                  <a16:creationId xmlns:a16="http://schemas.microsoft.com/office/drawing/2014/main" id="{1E4C75BC-C2D7-4C99-8295-F90B7FAF941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725284" y="2961439"/>
              <a:ext cx="172428" cy="172582"/>
              <a:chOff x="527997" y="2834137"/>
              <a:chExt cx="1014294" cy="1015200"/>
            </a:xfrm>
            <a:solidFill>
              <a:srgbClr val="7D7D7D"/>
            </a:solidFill>
          </p:grpSpPr>
          <p:grpSp>
            <p:nvGrpSpPr>
              <p:cNvPr id="305" name="Gruppieren 304">
                <a:extLst>
                  <a:ext uri="{FF2B5EF4-FFF2-40B4-BE49-F238E27FC236}">
                    <a16:creationId xmlns:a16="http://schemas.microsoft.com/office/drawing/2014/main" id="{C6A2F3EB-152E-4737-95D9-DEA4E050277F}"/>
                  </a:ext>
                </a:extLst>
              </p:cNvPr>
              <p:cNvGrpSpPr/>
              <p:nvPr/>
            </p:nvGrpSpPr>
            <p:grpSpPr>
              <a:xfrm>
                <a:off x="527997" y="2834137"/>
                <a:ext cx="1014294" cy="1015200"/>
                <a:chOff x="7482838" y="4551044"/>
                <a:chExt cx="733425" cy="777932"/>
              </a:xfrm>
              <a:grpFill/>
            </p:grpSpPr>
            <p:grpSp>
              <p:nvGrpSpPr>
                <p:cNvPr id="310" name="Gruppieren 309">
                  <a:extLst>
                    <a:ext uri="{FF2B5EF4-FFF2-40B4-BE49-F238E27FC236}">
                      <a16:creationId xmlns:a16="http://schemas.microsoft.com/office/drawing/2014/main" id="{3ADF944C-2AB2-45ED-9E87-EB1A50CDB1D6}"/>
                    </a:ext>
                  </a:extLst>
                </p:cNvPr>
                <p:cNvGrpSpPr/>
                <p:nvPr/>
              </p:nvGrpSpPr>
              <p:grpSpPr>
                <a:xfrm>
                  <a:off x="7482838" y="4551044"/>
                  <a:ext cx="733425" cy="777932"/>
                  <a:chOff x="7278255" y="4462289"/>
                  <a:chExt cx="960870" cy="1031675"/>
                </a:xfrm>
                <a:grpFill/>
              </p:grpSpPr>
              <p:sp>
                <p:nvSpPr>
                  <p:cNvPr id="312" name="Rad 46">
                    <a:extLst>
                      <a:ext uri="{FF2B5EF4-FFF2-40B4-BE49-F238E27FC236}">
                        <a16:creationId xmlns:a16="http://schemas.microsoft.com/office/drawing/2014/main" id="{A5CD4CA3-6117-42DE-BDA0-AAB5ADDA619D}"/>
                      </a:ext>
                    </a:extLst>
                  </p:cNvPr>
                  <p:cNvSpPr/>
                  <p:nvPr/>
                </p:nvSpPr>
                <p:spPr>
                  <a:xfrm>
                    <a:off x="7278255" y="4462289"/>
                    <a:ext cx="960870" cy="1031675"/>
                  </a:xfrm>
                  <a:prstGeom prst="donut">
                    <a:avLst>
                      <a:gd name="adj" fmla="val 8851"/>
                    </a:avLst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14400" fontAlgn="base">
                      <a:lnSpc>
                        <a:spcPct val="114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bg-BG" dirty="0">
                      <a:solidFill>
                        <a:prstClr val="black"/>
                      </a:solidFill>
                      <a:latin typeface="+mj-lt"/>
                    </a:endParaRPr>
                  </a:p>
                </p:txBody>
              </p:sp>
              <p:cxnSp>
                <p:nvCxnSpPr>
                  <p:cNvPr id="313" name="Gerade Verbindung mit Pfeil 312">
                    <a:extLst>
                      <a:ext uri="{FF2B5EF4-FFF2-40B4-BE49-F238E27FC236}">
                        <a16:creationId xmlns:a16="http://schemas.microsoft.com/office/drawing/2014/main" id="{135D8777-61DC-4E5B-AA73-6C0DF5B28379}"/>
                      </a:ext>
                    </a:extLst>
                  </p:cNvPr>
                  <p:cNvCxnSpPr/>
                  <p:nvPr/>
                </p:nvCxnSpPr>
                <p:spPr>
                  <a:xfrm>
                    <a:off x="7747508" y="4968875"/>
                    <a:ext cx="287533" cy="0"/>
                  </a:xfrm>
                  <a:prstGeom prst="straightConnector1">
                    <a:avLst/>
                  </a:prstGeom>
                  <a:grpFill/>
                  <a:ln w="12700">
                    <a:headEnd type="none" w="med" len="med"/>
                    <a:tailEnd type="none" w="med" len="med"/>
                  </a:ln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14" name="Gerade Verbindung mit Pfeil 313">
                    <a:extLst>
                      <a:ext uri="{FF2B5EF4-FFF2-40B4-BE49-F238E27FC236}">
                        <a16:creationId xmlns:a16="http://schemas.microsoft.com/office/drawing/2014/main" id="{927AEE46-6DCD-4F48-AA56-AC3BA5CA284A}"/>
                      </a:ext>
                    </a:extLst>
                  </p:cNvPr>
                  <p:cNvCxnSpPr/>
                  <p:nvPr/>
                </p:nvCxnSpPr>
                <p:spPr>
                  <a:xfrm flipH="1" flipV="1">
                    <a:off x="7567879" y="4650024"/>
                    <a:ext cx="204079" cy="322806"/>
                  </a:xfrm>
                  <a:prstGeom prst="straightConnector1">
                    <a:avLst/>
                  </a:prstGeom>
                  <a:grpFill/>
                  <a:ln w="12700">
                    <a:headEnd type="none" w="med" len="med"/>
                    <a:tailEnd type="none" w="med" len="med"/>
                  </a:ln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11" name="Flussdiagramm: Verbinder 310">
                  <a:extLst>
                    <a:ext uri="{FF2B5EF4-FFF2-40B4-BE49-F238E27FC236}">
                      <a16:creationId xmlns:a16="http://schemas.microsoft.com/office/drawing/2014/main" id="{56E6FC79-39CC-443D-9F68-B1355E5450D7}"/>
                    </a:ext>
                  </a:extLst>
                </p:cNvPr>
                <p:cNvSpPr/>
                <p:nvPr/>
              </p:nvSpPr>
              <p:spPr>
                <a:xfrm>
                  <a:off x="7826690" y="4911393"/>
                  <a:ext cx="45719" cy="47625"/>
                </a:xfrm>
                <a:prstGeom prst="flowChartConnector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bg-BG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</p:grpSp>
          <p:cxnSp>
            <p:nvCxnSpPr>
              <p:cNvPr id="306" name="Gerader Verbinder 305">
                <a:extLst>
                  <a:ext uri="{FF2B5EF4-FFF2-40B4-BE49-F238E27FC236}">
                    <a16:creationId xmlns:a16="http://schemas.microsoft.com/office/drawing/2014/main" id="{D029A522-FE1E-4FB4-B286-6564C03EA1F4}"/>
                  </a:ext>
                </a:extLst>
              </p:cNvPr>
              <p:cNvCxnSpPr/>
              <p:nvPr/>
            </p:nvCxnSpPr>
            <p:spPr>
              <a:xfrm>
                <a:off x="1035142" y="3681768"/>
                <a:ext cx="2" cy="152191"/>
              </a:xfrm>
              <a:prstGeom prst="line">
                <a:avLst/>
              </a:prstGeom>
              <a:grpFill/>
              <a:ln>
                <a:solidFill>
                  <a:srgbClr val="00284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7" name="Gerader Verbinder 306">
                <a:extLst>
                  <a:ext uri="{FF2B5EF4-FFF2-40B4-BE49-F238E27FC236}">
                    <a16:creationId xmlns:a16="http://schemas.microsoft.com/office/drawing/2014/main" id="{159AA3A0-11F3-49C8-8D0F-CC5DDA6EBD5B}"/>
                  </a:ext>
                </a:extLst>
              </p:cNvPr>
              <p:cNvCxnSpPr/>
              <p:nvPr/>
            </p:nvCxnSpPr>
            <p:spPr>
              <a:xfrm>
                <a:off x="1038340" y="2852678"/>
                <a:ext cx="2" cy="152191"/>
              </a:xfrm>
              <a:prstGeom prst="line">
                <a:avLst/>
              </a:prstGeom>
              <a:grpFill/>
              <a:ln>
                <a:solidFill>
                  <a:srgbClr val="00284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8" name="Gerader Verbinder 307">
                <a:extLst>
                  <a:ext uri="{FF2B5EF4-FFF2-40B4-BE49-F238E27FC236}">
                    <a16:creationId xmlns:a16="http://schemas.microsoft.com/office/drawing/2014/main" id="{166688F4-E3ED-4635-9B1A-1288821C124D}"/>
                  </a:ext>
                </a:extLst>
              </p:cNvPr>
              <p:cNvCxnSpPr/>
              <p:nvPr/>
            </p:nvCxnSpPr>
            <p:spPr>
              <a:xfrm flipH="1">
                <a:off x="545459" y="3341737"/>
                <a:ext cx="151200" cy="0"/>
              </a:xfrm>
              <a:prstGeom prst="line">
                <a:avLst/>
              </a:prstGeom>
              <a:grpFill/>
              <a:ln>
                <a:solidFill>
                  <a:srgbClr val="00284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9" name="Gerader Verbinder 308">
                <a:extLst>
                  <a:ext uri="{FF2B5EF4-FFF2-40B4-BE49-F238E27FC236}">
                    <a16:creationId xmlns:a16="http://schemas.microsoft.com/office/drawing/2014/main" id="{52EE3AC4-8E0B-476D-89A8-26653BBC228D}"/>
                  </a:ext>
                </a:extLst>
              </p:cNvPr>
              <p:cNvCxnSpPr/>
              <p:nvPr/>
            </p:nvCxnSpPr>
            <p:spPr>
              <a:xfrm flipH="1">
                <a:off x="1368866" y="3332633"/>
                <a:ext cx="151200" cy="0"/>
              </a:xfrm>
              <a:prstGeom prst="line">
                <a:avLst/>
              </a:prstGeom>
              <a:grpFill/>
              <a:ln>
                <a:solidFill>
                  <a:srgbClr val="00284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3" name="Gruppieren 322">
            <a:extLst>
              <a:ext uri="{FF2B5EF4-FFF2-40B4-BE49-F238E27FC236}">
                <a16:creationId xmlns:a16="http://schemas.microsoft.com/office/drawing/2014/main" id="{FEA4DE2C-AB99-4ADC-BAB5-784149AF82CD}"/>
              </a:ext>
            </a:extLst>
          </p:cNvPr>
          <p:cNvGrpSpPr/>
          <p:nvPr/>
        </p:nvGrpSpPr>
        <p:grpSpPr>
          <a:xfrm>
            <a:off x="10739350" y="4412779"/>
            <a:ext cx="251124" cy="284186"/>
            <a:chOff x="10725284" y="2961439"/>
            <a:chExt cx="251124" cy="284186"/>
          </a:xfrm>
        </p:grpSpPr>
        <p:grpSp>
          <p:nvGrpSpPr>
            <p:cNvPr id="324" name="Gruppieren 323">
              <a:extLst>
                <a:ext uri="{FF2B5EF4-FFF2-40B4-BE49-F238E27FC236}">
                  <a16:creationId xmlns:a16="http://schemas.microsoft.com/office/drawing/2014/main" id="{EF01EA9A-6435-41A5-B696-7673E2132AB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893934" y="3068299"/>
              <a:ext cx="82474" cy="177326"/>
              <a:chOff x="2623147" y="1393713"/>
              <a:chExt cx="1926939" cy="4143158"/>
            </a:xfrm>
            <a:solidFill>
              <a:srgbClr val="7D7D7D"/>
            </a:solidFill>
          </p:grpSpPr>
          <p:sp>
            <p:nvSpPr>
              <p:cNvPr id="336" name="Abgerundetes Rechteck 241">
                <a:extLst>
                  <a:ext uri="{FF2B5EF4-FFF2-40B4-BE49-F238E27FC236}">
                    <a16:creationId xmlns:a16="http://schemas.microsoft.com/office/drawing/2014/main" id="{039218CF-4A22-4945-AA6B-903DDB1001FF}"/>
                  </a:ext>
                </a:extLst>
              </p:cNvPr>
              <p:cNvSpPr/>
              <p:nvPr/>
            </p:nvSpPr>
            <p:spPr>
              <a:xfrm rot="13586498">
                <a:off x="3299701" y="3032258"/>
                <a:ext cx="1505144" cy="244492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337" name="Abgerundetes Rechteck 242">
                <a:extLst>
                  <a:ext uri="{FF2B5EF4-FFF2-40B4-BE49-F238E27FC236}">
                    <a16:creationId xmlns:a16="http://schemas.microsoft.com/office/drawing/2014/main" id="{61D979E6-8559-4B01-BD23-92ED23250FD7}"/>
                  </a:ext>
                </a:extLst>
              </p:cNvPr>
              <p:cNvSpPr/>
              <p:nvPr/>
            </p:nvSpPr>
            <p:spPr>
              <a:xfrm rot="18159370">
                <a:off x="2190648" y="4297516"/>
                <a:ext cx="2078661" cy="400050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338" name="Abgerundetes Rechteck 243">
                <a:extLst>
                  <a:ext uri="{FF2B5EF4-FFF2-40B4-BE49-F238E27FC236}">
                    <a16:creationId xmlns:a16="http://schemas.microsoft.com/office/drawing/2014/main" id="{FBB30809-2090-433F-927C-3DD03D6E89C2}"/>
                  </a:ext>
                </a:extLst>
              </p:cNvPr>
              <p:cNvSpPr/>
              <p:nvPr/>
            </p:nvSpPr>
            <p:spPr>
              <a:xfrm rot="16200000">
                <a:off x="2605082" y="2788076"/>
                <a:ext cx="2078661" cy="793376"/>
              </a:xfrm>
              <a:prstGeom prst="roundRect">
                <a:avLst>
                  <a:gd name="adj" fmla="val 45238"/>
                </a:avLst>
              </a:prstGeom>
              <a:grp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339" name="Abgerundetes Rechteck 244">
                <a:extLst>
                  <a:ext uri="{FF2B5EF4-FFF2-40B4-BE49-F238E27FC236}">
                    <a16:creationId xmlns:a16="http://schemas.microsoft.com/office/drawing/2014/main" id="{7401F511-1E21-4CCB-9C74-85EBF6EADA6A}"/>
                  </a:ext>
                </a:extLst>
              </p:cNvPr>
              <p:cNvSpPr/>
              <p:nvPr/>
            </p:nvSpPr>
            <p:spPr>
              <a:xfrm rot="13947735">
                <a:off x="3396267" y="4024071"/>
                <a:ext cx="1243503" cy="400050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340" name="Abgerundetes Rechteck 245">
                <a:extLst>
                  <a:ext uri="{FF2B5EF4-FFF2-40B4-BE49-F238E27FC236}">
                    <a16:creationId xmlns:a16="http://schemas.microsoft.com/office/drawing/2014/main" id="{1019BA56-EE27-4594-BD77-CF12895EC2F7}"/>
                  </a:ext>
                </a:extLst>
              </p:cNvPr>
              <p:cNvSpPr/>
              <p:nvPr/>
            </p:nvSpPr>
            <p:spPr>
              <a:xfrm rot="15490463">
                <a:off x="3806964" y="4743828"/>
                <a:ext cx="1106660" cy="379585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341" name="Ellipse 340">
                <a:extLst>
                  <a:ext uri="{FF2B5EF4-FFF2-40B4-BE49-F238E27FC236}">
                    <a16:creationId xmlns:a16="http://schemas.microsoft.com/office/drawing/2014/main" id="{1E21B3EB-1599-4368-BBE5-72BCCC084A21}"/>
                  </a:ext>
                </a:extLst>
              </p:cNvPr>
              <p:cNvSpPr/>
              <p:nvPr/>
            </p:nvSpPr>
            <p:spPr>
              <a:xfrm>
                <a:off x="3423525" y="1393713"/>
                <a:ext cx="689602" cy="6912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342" name="Abgerundetes Rechteck 247">
                <a:extLst>
                  <a:ext uri="{FF2B5EF4-FFF2-40B4-BE49-F238E27FC236}">
                    <a16:creationId xmlns:a16="http://schemas.microsoft.com/office/drawing/2014/main" id="{2B3884C8-FBEA-459D-B751-7B0815517D2D}"/>
                  </a:ext>
                </a:extLst>
              </p:cNvPr>
              <p:cNvSpPr/>
              <p:nvPr/>
            </p:nvSpPr>
            <p:spPr>
              <a:xfrm rot="8753946">
                <a:off x="2707572" y="2568703"/>
                <a:ext cx="948294" cy="244492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343" name="Abgerundetes Rechteck 248">
                <a:extLst>
                  <a:ext uri="{FF2B5EF4-FFF2-40B4-BE49-F238E27FC236}">
                    <a16:creationId xmlns:a16="http://schemas.microsoft.com/office/drawing/2014/main" id="{FCC7E87F-C3F9-4AB7-9E38-EEB984C01ED9}"/>
                  </a:ext>
                </a:extLst>
              </p:cNvPr>
              <p:cNvSpPr/>
              <p:nvPr/>
            </p:nvSpPr>
            <p:spPr>
              <a:xfrm rot="6512919">
                <a:off x="2279225" y="3136163"/>
                <a:ext cx="932336" cy="244492"/>
              </a:xfrm>
              <a:prstGeom prst="roundRect">
                <a:avLst>
                  <a:gd name="adj" fmla="val 4523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prstClr val="white"/>
                  </a:solidFill>
                  <a:latin typeface="+mj-lt"/>
                </a:endParaRPr>
              </a:p>
            </p:txBody>
          </p:sp>
        </p:grpSp>
        <p:grpSp>
          <p:nvGrpSpPr>
            <p:cNvPr id="325" name="Gruppieren 324">
              <a:extLst>
                <a:ext uri="{FF2B5EF4-FFF2-40B4-BE49-F238E27FC236}">
                  <a16:creationId xmlns:a16="http://schemas.microsoft.com/office/drawing/2014/main" id="{074C6CC3-F35D-45AB-BF9E-5CC43DE46CC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725284" y="2961439"/>
              <a:ext cx="172428" cy="172582"/>
              <a:chOff x="527997" y="2834137"/>
              <a:chExt cx="1014294" cy="1015200"/>
            </a:xfrm>
            <a:solidFill>
              <a:srgbClr val="7D7D7D"/>
            </a:solidFill>
          </p:grpSpPr>
          <p:grpSp>
            <p:nvGrpSpPr>
              <p:cNvPr id="326" name="Gruppieren 325">
                <a:extLst>
                  <a:ext uri="{FF2B5EF4-FFF2-40B4-BE49-F238E27FC236}">
                    <a16:creationId xmlns:a16="http://schemas.microsoft.com/office/drawing/2014/main" id="{D4758825-3658-4160-B4B3-1823367909AD}"/>
                  </a:ext>
                </a:extLst>
              </p:cNvPr>
              <p:cNvGrpSpPr/>
              <p:nvPr/>
            </p:nvGrpSpPr>
            <p:grpSpPr>
              <a:xfrm>
                <a:off x="527997" y="2834137"/>
                <a:ext cx="1014294" cy="1015200"/>
                <a:chOff x="7482838" y="4551044"/>
                <a:chExt cx="733425" cy="777932"/>
              </a:xfrm>
              <a:grpFill/>
            </p:grpSpPr>
            <p:grpSp>
              <p:nvGrpSpPr>
                <p:cNvPr id="331" name="Gruppieren 330">
                  <a:extLst>
                    <a:ext uri="{FF2B5EF4-FFF2-40B4-BE49-F238E27FC236}">
                      <a16:creationId xmlns:a16="http://schemas.microsoft.com/office/drawing/2014/main" id="{905AB76E-0C42-4400-9A54-E1A756173C93}"/>
                    </a:ext>
                  </a:extLst>
                </p:cNvPr>
                <p:cNvGrpSpPr/>
                <p:nvPr/>
              </p:nvGrpSpPr>
              <p:grpSpPr>
                <a:xfrm>
                  <a:off x="7482838" y="4551044"/>
                  <a:ext cx="733425" cy="777932"/>
                  <a:chOff x="7278255" y="4462289"/>
                  <a:chExt cx="960870" cy="1031675"/>
                </a:xfrm>
                <a:grpFill/>
              </p:grpSpPr>
              <p:sp>
                <p:nvSpPr>
                  <p:cNvPr id="333" name="Rad 46">
                    <a:extLst>
                      <a:ext uri="{FF2B5EF4-FFF2-40B4-BE49-F238E27FC236}">
                        <a16:creationId xmlns:a16="http://schemas.microsoft.com/office/drawing/2014/main" id="{77530A5A-F33C-4B1D-BFF7-D2485FC10BEA}"/>
                      </a:ext>
                    </a:extLst>
                  </p:cNvPr>
                  <p:cNvSpPr/>
                  <p:nvPr/>
                </p:nvSpPr>
                <p:spPr>
                  <a:xfrm>
                    <a:off x="7278255" y="4462289"/>
                    <a:ext cx="960870" cy="1031675"/>
                  </a:xfrm>
                  <a:prstGeom prst="donut">
                    <a:avLst>
                      <a:gd name="adj" fmla="val 8851"/>
                    </a:avLst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14400" fontAlgn="base">
                      <a:lnSpc>
                        <a:spcPct val="114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bg-BG" dirty="0">
                      <a:solidFill>
                        <a:prstClr val="black"/>
                      </a:solidFill>
                      <a:latin typeface="+mj-lt"/>
                    </a:endParaRPr>
                  </a:p>
                </p:txBody>
              </p:sp>
              <p:cxnSp>
                <p:nvCxnSpPr>
                  <p:cNvPr id="334" name="Gerade Verbindung mit Pfeil 333">
                    <a:extLst>
                      <a:ext uri="{FF2B5EF4-FFF2-40B4-BE49-F238E27FC236}">
                        <a16:creationId xmlns:a16="http://schemas.microsoft.com/office/drawing/2014/main" id="{3B6DE71D-C65C-4F81-94D4-12AB361E2A5B}"/>
                      </a:ext>
                    </a:extLst>
                  </p:cNvPr>
                  <p:cNvCxnSpPr/>
                  <p:nvPr/>
                </p:nvCxnSpPr>
                <p:spPr>
                  <a:xfrm>
                    <a:off x="7747508" y="4968875"/>
                    <a:ext cx="287533" cy="0"/>
                  </a:xfrm>
                  <a:prstGeom prst="straightConnector1">
                    <a:avLst/>
                  </a:prstGeom>
                  <a:grpFill/>
                  <a:ln w="12700">
                    <a:headEnd type="none" w="med" len="med"/>
                    <a:tailEnd type="none" w="med" len="med"/>
                  </a:ln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35" name="Gerade Verbindung mit Pfeil 334">
                    <a:extLst>
                      <a:ext uri="{FF2B5EF4-FFF2-40B4-BE49-F238E27FC236}">
                        <a16:creationId xmlns:a16="http://schemas.microsoft.com/office/drawing/2014/main" id="{7F5B12AE-EC03-4B1F-A9A1-385AE04C0837}"/>
                      </a:ext>
                    </a:extLst>
                  </p:cNvPr>
                  <p:cNvCxnSpPr/>
                  <p:nvPr/>
                </p:nvCxnSpPr>
                <p:spPr>
                  <a:xfrm flipH="1" flipV="1">
                    <a:off x="7567879" y="4650024"/>
                    <a:ext cx="204079" cy="322806"/>
                  </a:xfrm>
                  <a:prstGeom prst="straightConnector1">
                    <a:avLst/>
                  </a:prstGeom>
                  <a:grpFill/>
                  <a:ln w="12700">
                    <a:headEnd type="none" w="med" len="med"/>
                    <a:tailEnd type="none" w="med" len="med"/>
                  </a:ln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32" name="Flussdiagramm: Verbinder 331">
                  <a:extLst>
                    <a:ext uri="{FF2B5EF4-FFF2-40B4-BE49-F238E27FC236}">
                      <a16:creationId xmlns:a16="http://schemas.microsoft.com/office/drawing/2014/main" id="{C62DA81A-C4EA-4F63-9B59-C0B3D1C3C86E}"/>
                    </a:ext>
                  </a:extLst>
                </p:cNvPr>
                <p:cNvSpPr/>
                <p:nvPr/>
              </p:nvSpPr>
              <p:spPr>
                <a:xfrm>
                  <a:off x="7826690" y="4911393"/>
                  <a:ext cx="45719" cy="47625"/>
                </a:xfrm>
                <a:prstGeom prst="flowChartConnector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114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bg-BG" dirty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</p:grpSp>
          <p:cxnSp>
            <p:nvCxnSpPr>
              <p:cNvPr id="327" name="Gerader Verbinder 326">
                <a:extLst>
                  <a:ext uri="{FF2B5EF4-FFF2-40B4-BE49-F238E27FC236}">
                    <a16:creationId xmlns:a16="http://schemas.microsoft.com/office/drawing/2014/main" id="{47ACBDC1-3C90-4B06-B454-B163B0C7D839}"/>
                  </a:ext>
                </a:extLst>
              </p:cNvPr>
              <p:cNvCxnSpPr/>
              <p:nvPr/>
            </p:nvCxnSpPr>
            <p:spPr>
              <a:xfrm>
                <a:off x="1035142" y="3681768"/>
                <a:ext cx="2" cy="152191"/>
              </a:xfrm>
              <a:prstGeom prst="line">
                <a:avLst/>
              </a:prstGeom>
              <a:grpFill/>
              <a:ln>
                <a:solidFill>
                  <a:srgbClr val="00284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8" name="Gerader Verbinder 327">
                <a:extLst>
                  <a:ext uri="{FF2B5EF4-FFF2-40B4-BE49-F238E27FC236}">
                    <a16:creationId xmlns:a16="http://schemas.microsoft.com/office/drawing/2014/main" id="{DE097B29-9453-4893-B61B-3CF21A44CA72}"/>
                  </a:ext>
                </a:extLst>
              </p:cNvPr>
              <p:cNvCxnSpPr/>
              <p:nvPr/>
            </p:nvCxnSpPr>
            <p:spPr>
              <a:xfrm>
                <a:off x="1038340" y="2852678"/>
                <a:ext cx="2" cy="152191"/>
              </a:xfrm>
              <a:prstGeom prst="line">
                <a:avLst/>
              </a:prstGeom>
              <a:grpFill/>
              <a:ln>
                <a:solidFill>
                  <a:srgbClr val="00284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9" name="Gerader Verbinder 328">
                <a:extLst>
                  <a:ext uri="{FF2B5EF4-FFF2-40B4-BE49-F238E27FC236}">
                    <a16:creationId xmlns:a16="http://schemas.microsoft.com/office/drawing/2014/main" id="{EA51C49C-F094-4114-930F-0B4B1FBA7417}"/>
                  </a:ext>
                </a:extLst>
              </p:cNvPr>
              <p:cNvCxnSpPr/>
              <p:nvPr/>
            </p:nvCxnSpPr>
            <p:spPr>
              <a:xfrm flipH="1">
                <a:off x="545459" y="3341737"/>
                <a:ext cx="151200" cy="0"/>
              </a:xfrm>
              <a:prstGeom prst="line">
                <a:avLst/>
              </a:prstGeom>
              <a:grpFill/>
              <a:ln>
                <a:solidFill>
                  <a:srgbClr val="00284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r Verbinder 329">
                <a:extLst>
                  <a:ext uri="{FF2B5EF4-FFF2-40B4-BE49-F238E27FC236}">
                    <a16:creationId xmlns:a16="http://schemas.microsoft.com/office/drawing/2014/main" id="{4E8FBD67-A6F2-4F7E-871F-23875674907B}"/>
                  </a:ext>
                </a:extLst>
              </p:cNvPr>
              <p:cNvCxnSpPr/>
              <p:nvPr/>
            </p:nvCxnSpPr>
            <p:spPr>
              <a:xfrm flipH="1">
                <a:off x="1368866" y="3332633"/>
                <a:ext cx="151200" cy="0"/>
              </a:xfrm>
              <a:prstGeom prst="line">
                <a:avLst/>
              </a:prstGeom>
              <a:grpFill/>
              <a:ln>
                <a:solidFill>
                  <a:srgbClr val="00284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48" name="Grafik 347">
            <a:extLst>
              <a:ext uri="{FF2B5EF4-FFF2-40B4-BE49-F238E27FC236}">
                <a16:creationId xmlns:a16="http://schemas.microsoft.com/office/drawing/2014/main" id="{F299BA45-42C3-4F65-A56D-D9BFDB59256F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354" y="236150"/>
            <a:ext cx="603151" cy="603151"/>
          </a:xfrm>
          <a:prstGeom prst="rect">
            <a:avLst/>
          </a:prstGeom>
        </p:spPr>
      </p:pic>
      <p:sp>
        <p:nvSpPr>
          <p:cNvPr id="350" name="Rechteck 349">
            <a:extLst>
              <a:ext uri="{FF2B5EF4-FFF2-40B4-BE49-F238E27FC236}">
                <a16:creationId xmlns:a16="http://schemas.microsoft.com/office/drawing/2014/main" id="{B187A0B6-31B0-412D-88D3-75FE64917BB0}"/>
              </a:ext>
            </a:extLst>
          </p:cNvPr>
          <p:cNvSpPr/>
          <p:nvPr/>
        </p:nvSpPr>
        <p:spPr>
          <a:xfrm>
            <a:off x="1571892" y="3468154"/>
            <a:ext cx="9720000" cy="71999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14CE8CED-A004-4DDA-8100-0B75FCA82B62}"/>
              </a:ext>
            </a:extLst>
          </p:cNvPr>
          <p:cNvSpPr/>
          <p:nvPr/>
        </p:nvSpPr>
        <p:spPr>
          <a:xfrm>
            <a:off x="1571892" y="4199591"/>
            <a:ext cx="9720000" cy="71999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6C427A38-F010-450D-98C3-E80CB15DDD85}"/>
              </a:ext>
            </a:extLst>
          </p:cNvPr>
          <p:cNvSpPr/>
          <p:nvPr/>
        </p:nvSpPr>
        <p:spPr>
          <a:xfrm>
            <a:off x="1571892" y="2743469"/>
            <a:ext cx="9720000" cy="71999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4290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3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3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0" grpId="0" animBg="1"/>
      <p:bldP spid="352" grpId="0" animBg="1"/>
      <p:bldP spid="16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pSp>
        <p:nvGrpSpPr>
          <p:cNvPr id="9" name="Gruppieren 8"/>
          <p:cNvGrpSpPr/>
          <p:nvPr/>
        </p:nvGrpSpPr>
        <p:grpSpPr>
          <a:xfrm>
            <a:off x="861557" y="1828236"/>
            <a:ext cx="10349347" cy="653107"/>
            <a:chOff x="378148" y="1620391"/>
            <a:chExt cx="12102986" cy="720081"/>
          </a:xfrm>
        </p:grpSpPr>
        <p:sp>
          <p:nvSpPr>
            <p:cNvPr id="20" name="Rechteck 19"/>
            <p:cNvSpPr/>
            <p:nvPr/>
          </p:nvSpPr>
          <p:spPr>
            <a:xfrm>
              <a:off x="580612" y="1836415"/>
              <a:ext cx="11900522" cy="50405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dirty="0">
                  <a:solidFill>
                    <a:schemeClr val="tx1"/>
                  </a:solidFill>
                </a:rPr>
                <a:t>Ausgangslage und Simulationsmodell</a:t>
              </a:r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378148" y="1620391"/>
              <a:ext cx="468000" cy="440578"/>
              <a:chOff x="1386260" y="1728403"/>
              <a:chExt cx="468000" cy="440578"/>
            </a:xfrm>
          </p:grpSpPr>
          <p:sp>
            <p:nvSpPr>
              <p:cNvPr id="22" name="Rechteck 21"/>
              <p:cNvSpPr/>
              <p:nvPr/>
            </p:nvSpPr>
            <p:spPr>
              <a:xfrm>
                <a:off x="1386260" y="1728403"/>
                <a:ext cx="468000" cy="440578"/>
              </a:xfrm>
              <a:prstGeom prst="rect">
                <a:avLst/>
              </a:prstGeom>
              <a:solidFill>
                <a:srgbClr val="1F4E79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Textfeld 11"/>
              <p:cNvSpPr txBox="1"/>
              <p:nvPr/>
            </p:nvSpPr>
            <p:spPr>
              <a:xfrm>
                <a:off x="1476244" y="1777763"/>
                <a:ext cx="288032" cy="373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sz="1600" b="1" dirty="0">
                    <a:solidFill>
                      <a:prstClr val="white"/>
                    </a:solidFill>
                  </a:rPr>
                  <a:t>1</a:t>
                </a:r>
              </a:p>
            </p:txBody>
          </p:sp>
        </p:grpSp>
      </p:grpSp>
      <p:grpSp>
        <p:nvGrpSpPr>
          <p:cNvPr id="10" name="Gruppieren 9"/>
          <p:cNvGrpSpPr/>
          <p:nvPr/>
        </p:nvGrpSpPr>
        <p:grpSpPr>
          <a:xfrm>
            <a:off x="861557" y="3329244"/>
            <a:ext cx="10349347" cy="653107"/>
            <a:chOff x="378148" y="1620391"/>
            <a:chExt cx="12102986" cy="720081"/>
          </a:xfrm>
        </p:grpSpPr>
        <p:sp>
          <p:nvSpPr>
            <p:cNvPr id="16" name="Rechteck 15"/>
            <p:cNvSpPr/>
            <p:nvPr/>
          </p:nvSpPr>
          <p:spPr>
            <a:xfrm>
              <a:off x="580612" y="1836415"/>
              <a:ext cx="11900522" cy="50405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dirty="0">
                  <a:solidFill>
                    <a:srgbClr val="003840"/>
                  </a:solidFill>
                </a:rPr>
                <a:t>Vergleich verschiedener Modellierungsansätze im Verteilnetz</a:t>
              </a:r>
              <a:endParaRPr lang="de-DE" sz="2000" dirty="0">
                <a:solidFill>
                  <a:srgbClr val="003840"/>
                </a:solidFill>
              </a:endParaRPr>
            </a:p>
          </p:txBody>
        </p:sp>
        <p:grpSp>
          <p:nvGrpSpPr>
            <p:cNvPr id="17" name="Gruppieren 16"/>
            <p:cNvGrpSpPr/>
            <p:nvPr/>
          </p:nvGrpSpPr>
          <p:grpSpPr>
            <a:xfrm>
              <a:off x="378148" y="1620391"/>
              <a:ext cx="468000" cy="440578"/>
              <a:chOff x="1386260" y="1728403"/>
              <a:chExt cx="468000" cy="440578"/>
            </a:xfrm>
          </p:grpSpPr>
          <p:sp>
            <p:nvSpPr>
              <p:cNvPr id="18" name="Rechteck 17"/>
              <p:cNvSpPr/>
              <p:nvPr/>
            </p:nvSpPr>
            <p:spPr>
              <a:xfrm>
                <a:off x="1386260" y="1728403"/>
                <a:ext cx="468000" cy="440578"/>
              </a:xfrm>
              <a:prstGeom prst="rect">
                <a:avLst/>
              </a:prstGeom>
              <a:solidFill>
                <a:srgbClr val="1F4E79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Textfeld 31"/>
              <p:cNvSpPr txBox="1"/>
              <p:nvPr/>
            </p:nvSpPr>
            <p:spPr>
              <a:xfrm>
                <a:off x="1476244" y="1777763"/>
                <a:ext cx="288032" cy="373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sz="1600" b="1" dirty="0">
                    <a:solidFill>
                      <a:prstClr val="white"/>
                    </a:solidFill>
                  </a:rPr>
                  <a:t>2</a:t>
                </a:r>
              </a:p>
            </p:txBody>
          </p:sp>
        </p:grpSp>
      </p:grpSp>
      <p:grpSp>
        <p:nvGrpSpPr>
          <p:cNvPr id="11" name="Gruppieren 10"/>
          <p:cNvGrpSpPr/>
          <p:nvPr/>
        </p:nvGrpSpPr>
        <p:grpSpPr>
          <a:xfrm>
            <a:off x="859991" y="4830252"/>
            <a:ext cx="10349347" cy="653108"/>
            <a:chOff x="378148" y="1620390"/>
            <a:chExt cx="12102986" cy="720082"/>
          </a:xfrm>
        </p:grpSpPr>
        <p:sp>
          <p:nvSpPr>
            <p:cNvPr id="12" name="Rechteck 11"/>
            <p:cNvSpPr/>
            <p:nvPr/>
          </p:nvSpPr>
          <p:spPr>
            <a:xfrm>
              <a:off x="580612" y="1836415"/>
              <a:ext cx="11900522" cy="50405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dirty="0">
                  <a:solidFill>
                    <a:srgbClr val="003840"/>
                  </a:solidFill>
                </a:rPr>
                <a:t>Quantifizierung notwendiger Zufallsverteilungen</a:t>
              </a:r>
              <a:endParaRPr lang="de-DE" sz="2000" dirty="0">
                <a:solidFill>
                  <a:srgbClr val="003840"/>
                </a:solidFill>
              </a:endParaRPr>
            </a:p>
          </p:txBody>
        </p:sp>
        <p:grpSp>
          <p:nvGrpSpPr>
            <p:cNvPr id="13" name="Gruppieren 12"/>
            <p:cNvGrpSpPr/>
            <p:nvPr/>
          </p:nvGrpSpPr>
          <p:grpSpPr>
            <a:xfrm>
              <a:off x="378148" y="1620390"/>
              <a:ext cx="468000" cy="440577"/>
              <a:chOff x="1386260" y="1728402"/>
              <a:chExt cx="468000" cy="440577"/>
            </a:xfrm>
          </p:grpSpPr>
          <p:sp>
            <p:nvSpPr>
              <p:cNvPr id="14" name="Rechteck 13"/>
              <p:cNvSpPr/>
              <p:nvPr/>
            </p:nvSpPr>
            <p:spPr>
              <a:xfrm>
                <a:off x="1386260" y="1728402"/>
                <a:ext cx="468000" cy="440577"/>
              </a:xfrm>
              <a:prstGeom prst="rect">
                <a:avLst/>
              </a:prstGeom>
              <a:solidFill>
                <a:srgbClr val="1F4E79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Textfeld 36"/>
              <p:cNvSpPr txBox="1"/>
              <p:nvPr/>
            </p:nvSpPr>
            <p:spPr>
              <a:xfrm>
                <a:off x="1476244" y="1777763"/>
                <a:ext cx="288032" cy="373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sz="1600" b="1" dirty="0">
                    <a:solidFill>
                      <a:prstClr val="white"/>
                    </a:solidFill>
                  </a:rPr>
                  <a:t>3</a:t>
                </a:r>
              </a:p>
            </p:txBody>
          </p:sp>
        </p:grpSp>
      </p:grpSp>
      <p:sp>
        <p:nvSpPr>
          <p:cNvPr id="24" name="Rechteck 23">
            <a:extLst>
              <a:ext uri="{FF2B5EF4-FFF2-40B4-BE49-F238E27FC236}">
                <a16:creationId xmlns:a16="http://schemas.microsoft.com/office/drawing/2014/main" id="{4B61F168-13E3-4723-B7C6-F5D00B719F53}"/>
              </a:ext>
            </a:extLst>
          </p:cNvPr>
          <p:cNvSpPr/>
          <p:nvPr/>
        </p:nvSpPr>
        <p:spPr>
          <a:xfrm>
            <a:off x="719697" y="1601315"/>
            <a:ext cx="10752603" cy="1250781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B7D4144F-36AE-4847-9484-9EA2C532ABF6}"/>
              </a:ext>
            </a:extLst>
          </p:cNvPr>
          <p:cNvSpPr/>
          <p:nvPr/>
        </p:nvSpPr>
        <p:spPr>
          <a:xfrm>
            <a:off x="719698" y="4629381"/>
            <a:ext cx="10752603" cy="1250781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04039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ordnung verschiedener Szenarien und Datengrundlag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20585AF7-BE4F-4746-9012-1FB988F4827B}"/>
              </a:ext>
            </a:extLst>
          </p:cNvPr>
          <p:cNvSpPr/>
          <p:nvPr/>
        </p:nvSpPr>
        <p:spPr>
          <a:xfrm flipV="1">
            <a:off x="1241056" y="1497526"/>
            <a:ext cx="3492000" cy="4741180"/>
          </a:xfrm>
          <a:prstGeom prst="rect">
            <a:avLst/>
          </a:prstGeom>
          <a:gradFill>
            <a:gsLst>
              <a:gs pos="50000">
                <a:srgbClr val="AB2626"/>
              </a:gs>
              <a:gs pos="100000">
                <a:srgbClr val="356CA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b"/>
          <a:lstStyle/>
          <a:p>
            <a:pPr algn="ctr"/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Gleichschenkliges Dreieck 31">
            <a:extLst>
              <a:ext uri="{FF2B5EF4-FFF2-40B4-BE49-F238E27FC236}">
                <a16:creationId xmlns:a16="http://schemas.microsoft.com/office/drawing/2014/main" id="{3EB17252-01CE-4F83-8AEC-E68FE4D8F6B3}"/>
              </a:ext>
            </a:extLst>
          </p:cNvPr>
          <p:cNvSpPr/>
          <p:nvPr/>
        </p:nvSpPr>
        <p:spPr>
          <a:xfrm flipH="1" flipV="1">
            <a:off x="1241056" y="1497526"/>
            <a:ext cx="3492000" cy="4741182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Pfeil: nach unten 32">
            <a:extLst>
              <a:ext uri="{FF2B5EF4-FFF2-40B4-BE49-F238E27FC236}">
                <a16:creationId xmlns:a16="http://schemas.microsoft.com/office/drawing/2014/main" id="{19754F53-541F-45B3-BDF1-F5997D3ACFCC}"/>
              </a:ext>
            </a:extLst>
          </p:cNvPr>
          <p:cNvSpPr/>
          <p:nvPr/>
        </p:nvSpPr>
        <p:spPr>
          <a:xfrm flipV="1">
            <a:off x="874710" y="1525087"/>
            <a:ext cx="360000" cy="5079986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51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</a:p>
        </p:txBody>
      </p:sp>
      <p:sp>
        <p:nvSpPr>
          <p:cNvPr id="34" name="Pfeil: nach unten 33">
            <a:extLst>
              <a:ext uri="{FF2B5EF4-FFF2-40B4-BE49-F238E27FC236}">
                <a16:creationId xmlns:a16="http://schemas.microsoft.com/office/drawing/2014/main" id="{99046C09-EDB2-44ED-ADCA-25B4FC158B2A}"/>
              </a:ext>
            </a:extLst>
          </p:cNvPr>
          <p:cNvSpPr/>
          <p:nvPr/>
        </p:nvSpPr>
        <p:spPr>
          <a:xfrm rot="5400000" flipV="1">
            <a:off x="2709899" y="4410446"/>
            <a:ext cx="360000" cy="4030372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51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D0372472-C924-40AD-B72C-673716EA09A9}"/>
              </a:ext>
            </a:extLst>
          </p:cNvPr>
          <p:cNvCxnSpPr>
            <a:cxnSpLocks/>
          </p:cNvCxnSpPr>
          <p:nvPr/>
        </p:nvCxnSpPr>
        <p:spPr>
          <a:xfrm flipH="1">
            <a:off x="874710" y="6245616"/>
            <a:ext cx="359999" cy="35945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A69A6654-4AF1-4CDA-875C-64E428DF5DCC}"/>
              </a:ext>
            </a:extLst>
          </p:cNvPr>
          <p:cNvSpPr txBox="1"/>
          <p:nvPr/>
        </p:nvSpPr>
        <p:spPr>
          <a:xfrm>
            <a:off x="2338573" y="6298674"/>
            <a:ext cx="1260000" cy="2539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Quo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4597C3DF-1B93-4B83-BEF0-763A1E10254B}"/>
              </a:ext>
            </a:extLst>
          </p:cNvPr>
          <p:cNvSpPr txBox="1"/>
          <p:nvPr/>
        </p:nvSpPr>
        <p:spPr>
          <a:xfrm>
            <a:off x="3430708" y="6298674"/>
            <a:ext cx="1260000" cy="2539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de-DE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kunft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6B953EDD-28C4-4C1E-A25F-F9D33D18D857}"/>
              </a:ext>
            </a:extLst>
          </p:cNvPr>
          <p:cNvSpPr txBox="1"/>
          <p:nvPr/>
        </p:nvSpPr>
        <p:spPr>
          <a:xfrm>
            <a:off x="1243263" y="6298674"/>
            <a:ext cx="1260000" cy="2539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gangenheit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8090AAD1-6812-4B33-BE74-F66126E56247}"/>
              </a:ext>
            </a:extLst>
          </p:cNvPr>
          <p:cNvSpPr txBox="1"/>
          <p:nvPr/>
        </p:nvSpPr>
        <p:spPr>
          <a:xfrm rot="16200000" flipH="1">
            <a:off x="-21794" y="5047836"/>
            <a:ext cx="2153009" cy="2539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chbildung realer Systeme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AA35C38-B965-4F41-BC02-5F84CD456940}"/>
              </a:ext>
            </a:extLst>
          </p:cNvPr>
          <p:cNvSpPr/>
          <p:nvPr/>
        </p:nvSpPr>
        <p:spPr>
          <a:xfrm>
            <a:off x="2706681" y="5405909"/>
            <a:ext cx="108000" cy="1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Multiplikationszeichen 41">
            <a:extLst>
              <a:ext uri="{FF2B5EF4-FFF2-40B4-BE49-F238E27FC236}">
                <a16:creationId xmlns:a16="http://schemas.microsoft.com/office/drawing/2014/main" id="{9BAF87D6-2176-43E3-85A2-EA4CF67D2F98}"/>
              </a:ext>
            </a:extLst>
          </p:cNvPr>
          <p:cNvSpPr/>
          <p:nvPr/>
        </p:nvSpPr>
        <p:spPr>
          <a:xfrm>
            <a:off x="2721354" y="5676218"/>
            <a:ext cx="144000" cy="144000"/>
          </a:xfrm>
          <a:prstGeom prst="mathMultiply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22AE139E-23C5-401D-9128-78119ED218A5}"/>
              </a:ext>
            </a:extLst>
          </p:cNvPr>
          <p:cNvSpPr/>
          <p:nvPr/>
        </p:nvSpPr>
        <p:spPr>
          <a:xfrm>
            <a:off x="2731666" y="4938796"/>
            <a:ext cx="144000" cy="14400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739C61FC-CAAB-47AC-9266-1D8743944E62}"/>
              </a:ext>
            </a:extLst>
          </p:cNvPr>
          <p:cNvSpPr/>
          <p:nvPr/>
        </p:nvSpPr>
        <p:spPr>
          <a:xfrm>
            <a:off x="2713828" y="4788432"/>
            <a:ext cx="108000" cy="1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CAAEC1EE-3530-4E41-9AED-1A07D2D5622C}"/>
              </a:ext>
            </a:extLst>
          </p:cNvPr>
          <p:cNvSpPr txBox="1"/>
          <p:nvPr/>
        </p:nvSpPr>
        <p:spPr>
          <a:xfrm>
            <a:off x="2283733" y="4910210"/>
            <a:ext cx="55656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-202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1BD4CBD9-52E4-4027-ABE9-CFDE3C4A8722}"/>
              </a:ext>
            </a:extLst>
          </p:cNvPr>
          <p:cNvSpPr txBox="1"/>
          <p:nvPr/>
        </p:nvSpPr>
        <p:spPr>
          <a:xfrm>
            <a:off x="2249143" y="5655678"/>
            <a:ext cx="55656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-2020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C1BECF0-3F17-42BA-B0BE-35D0990D1448}"/>
              </a:ext>
            </a:extLst>
          </p:cNvPr>
          <p:cNvSpPr txBox="1"/>
          <p:nvPr/>
        </p:nvSpPr>
        <p:spPr>
          <a:xfrm>
            <a:off x="2237805" y="4741030"/>
            <a:ext cx="55656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-2017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39610B7A-B33B-4CB6-9A91-934F89EBE1F2}"/>
              </a:ext>
            </a:extLst>
          </p:cNvPr>
          <p:cNvSpPr txBox="1"/>
          <p:nvPr/>
        </p:nvSpPr>
        <p:spPr>
          <a:xfrm>
            <a:off x="2216164" y="5372576"/>
            <a:ext cx="55656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-2018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0FC7C2B4-AE1C-43A9-940B-4A6CB1ACA028}"/>
              </a:ext>
            </a:extLst>
          </p:cNvPr>
          <p:cNvCxnSpPr>
            <a:cxnSpLocks/>
          </p:cNvCxnSpPr>
          <p:nvPr/>
        </p:nvCxnSpPr>
        <p:spPr>
          <a:xfrm flipV="1">
            <a:off x="2959048" y="6191641"/>
            <a:ext cx="0" cy="14400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>
            <a:extLst>
              <a:ext uri="{FF2B5EF4-FFF2-40B4-BE49-F238E27FC236}">
                <a16:creationId xmlns:a16="http://schemas.microsoft.com/office/drawing/2014/main" id="{9D50BAB2-9DBE-4C29-9E4E-4ABD037CF679}"/>
              </a:ext>
            </a:extLst>
          </p:cNvPr>
          <p:cNvSpPr txBox="1"/>
          <p:nvPr/>
        </p:nvSpPr>
        <p:spPr>
          <a:xfrm rot="16200000" flipH="1">
            <a:off x="-21794" y="2837372"/>
            <a:ext cx="2153009" cy="2539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de-DE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ierung von Szenarien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8393064-4DAC-425E-A0AE-0C0367938B47}"/>
              </a:ext>
            </a:extLst>
          </p:cNvPr>
          <p:cNvGrpSpPr/>
          <p:nvPr/>
        </p:nvGrpSpPr>
        <p:grpSpPr>
          <a:xfrm>
            <a:off x="2954286" y="3874028"/>
            <a:ext cx="1882547" cy="2359640"/>
            <a:chOff x="2846339" y="3588082"/>
            <a:chExt cx="1882547" cy="2359640"/>
          </a:xfrm>
        </p:grpSpPr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34DD34E7-C36D-439A-ABEE-EA240465612A}"/>
                </a:ext>
              </a:extLst>
            </p:cNvPr>
            <p:cNvSpPr/>
            <p:nvPr/>
          </p:nvSpPr>
          <p:spPr>
            <a:xfrm>
              <a:off x="3326548" y="3694053"/>
              <a:ext cx="108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Multiplikationszeichen 42">
              <a:extLst>
                <a:ext uri="{FF2B5EF4-FFF2-40B4-BE49-F238E27FC236}">
                  <a16:creationId xmlns:a16="http://schemas.microsoft.com/office/drawing/2014/main" id="{46000126-56A9-45F7-B8A0-C4530B4D838A}"/>
                </a:ext>
              </a:extLst>
            </p:cNvPr>
            <p:cNvSpPr/>
            <p:nvPr/>
          </p:nvSpPr>
          <p:spPr>
            <a:xfrm>
              <a:off x="3235943" y="4080125"/>
              <a:ext cx="144000" cy="144000"/>
            </a:xfrm>
            <a:prstGeom prst="mathMultiply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Gleichschenkliges Dreieck 44">
              <a:extLst>
                <a:ext uri="{FF2B5EF4-FFF2-40B4-BE49-F238E27FC236}">
                  <a16:creationId xmlns:a16="http://schemas.microsoft.com/office/drawing/2014/main" id="{A208E8E0-AA63-41CC-B4A5-4F32CABF1425}"/>
                </a:ext>
              </a:extLst>
            </p:cNvPr>
            <p:cNvSpPr/>
            <p:nvPr/>
          </p:nvSpPr>
          <p:spPr>
            <a:xfrm>
              <a:off x="2940155" y="3851008"/>
              <a:ext cx="144000" cy="144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61E107A2-5BE9-4737-BA16-CD15D361D3BF}"/>
                </a:ext>
              </a:extLst>
            </p:cNvPr>
            <p:cNvSpPr txBox="1"/>
            <p:nvPr/>
          </p:nvSpPr>
          <p:spPr>
            <a:xfrm>
              <a:off x="3009065" y="3826137"/>
              <a:ext cx="357790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6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30</a:t>
              </a:r>
            </a:p>
          </p:txBody>
        </p: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48DF80CE-0748-4A4E-9EA1-F33E9E9A4472}"/>
                </a:ext>
              </a:extLst>
            </p:cNvPr>
            <p:cNvSpPr txBox="1"/>
            <p:nvPr/>
          </p:nvSpPr>
          <p:spPr>
            <a:xfrm>
              <a:off x="3286885" y="4055319"/>
              <a:ext cx="357790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6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40</a:t>
              </a:r>
            </a:p>
          </p:txBody>
        </p: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4B818038-26D4-4217-B757-728B787848AE}"/>
                </a:ext>
              </a:extLst>
            </p:cNvPr>
            <p:cNvSpPr txBox="1"/>
            <p:nvPr/>
          </p:nvSpPr>
          <p:spPr>
            <a:xfrm>
              <a:off x="3365788" y="3661241"/>
              <a:ext cx="503664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6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tenzial</a:t>
              </a:r>
            </a:p>
          </p:txBody>
        </p: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73576A03-A364-406B-9F46-5ED9B3935F4C}"/>
                </a:ext>
              </a:extLst>
            </p:cNvPr>
            <p:cNvSpPr txBox="1"/>
            <p:nvPr/>
          </p:nvSpPr>
          <p:spPr>
            <a:xfrm>
              <a:off x="2998537" y="3588082"/>
              <a:ext cx="357790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6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30</a:t>
              </a:r>
            </a:p>
          </p:txBody>
        </p:sp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6E8995D4-AEA5-4EE8-A780-5879D54B3008}"/>
                </a:ext>
              </a:extLst>
            </p:cNvPr>
            <p:cNvSpPr/>
            <p:nvPr/>
          </p:nvSpPr>
          <p:spPr>
            <a:xfrm>
              <a:off x="2956822" y="3622256"/>
              <a:ext cx="108000" cy="10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Pfeil: nach unten 57">
              <a:extLst>
                <a:ext uri="{FF2B5EF4-FFF2-40B4-BE49-F238E27FC236}">
                  <a16:creationId xmlns:a16="http://schemas.microsoft.com/office/drawing/2014/main" id="{A2C80BF8-7C88-4265-BD3A-1E57D82EEB6B}"/>
                </a:ext>
              </a:extLst>
            </p:cNvPr>
            <p:cNvSpPr/>
            <p:nvPr/>
          </p:nvSpPr>
          <p:spPr>
            <a:xfrm rot="5400000" flipV="1">
              <a:off x="3680559" y="4899395"/>
              <a:ext cx="214107" cy="1882547"/>
            </a:xfrm>
            <a:prstGeom prst="down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rgbClr val="AB2626"/>
                </a:gs>
                <a:gs pos="96000">
                  <a:srgbClr val="356CA5"/>
                </a:gs>
              </a:gsLst>
              <a:lin ang="5400000" scaled="1"/>
              <a:tileRect/>
            </a:gra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de-DE" sz="1050" dirty="0">
                  <a:latin typeface="Arial" panose="020B0604020202020204" pitchFamily="34" charset="0"/>
                  <a:cs typeface="Arial" panose="020B0604020202020204" pitchFamily="34" charset="0"/>
                </a:rPr>
                <a:t>Unsicherheit</a:t>
              </a:r>
            </a:p>
          </p:txBody>
        </p:sp>
        <p:sp>
          <p:nvSpPr>
            <p:cNvPr id="59" name="Multiplikationszeichen 58">
              <a:extLst>
                <a:ext uri="{FF2B5EF4-FFF2-40B4-BE49-F238E27FC236}">
                  <a16:creationId xmlns:a16="http://schemas.microsoft.com/office/drawing/2014/main" id="{0836D92B-11B3-4BCF-8995-B6BE081EFE17}"/>
                </a:ext>
              </a:extLst>
            </p:cNvPr>
            <p:cNvSpPr/>
            <p:nvPr/>
          </p:nvSpPr>
          <p:spPr>
            <a:xfrm>
              <a:off x="2942533" y="4467649"/>
              <a:ext cx="144000" cy="144000"/>
            </a:xfrm>
            <a:prstGeom prst="mathMultiply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B8402158-4AB6-4484-9634-62980E986C43}"/>
                </a:ext>
              </a:extLst>
            </p:cNvPr>
            <p:cNvSpPr txBox="1"/>
            <p:nvPr/>
          </p:nvSpPr>
          <p:spPr>
            <a:xfrm>
              <a:off x="2993475" y="4442843"/>
              <a:ext cx="357790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6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30</a:t>
              </a: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25D48E4-2E27-4F27-800B-AC4E045C8DC1}"/>
              </a:ext>
            </a:extLst>
          </p:cNvPr>
          <p:cNvGrpSpPr/>
          <p:nvPr/>
        </p:nvGrpSpPr>
        <p:grpSpPr>
          <a:xfrm>
            <a:off x="1516038" y="1558474"/>
            <a:ext cx="2206675" cy="765457"/>
            <a:chOff x="1528328" y="1245415"/>
            <a:chExt cx="2206675" cy="765457"/>
          </a:xfrm>
        </p:grpSpPr>
        <p:pic>
          <p:nvPicPr>
            <p:cNvPr id="63" name="Grafik 62">
              <a:extLst>
                <a:ext uri="{FF2B5EF4-FFF2-40B4-BE49-F238E27FC236}">
                  <a16:creationId xmlns:a16="http://schemas.microsoft.com/office/drawing/2014/main" id="{052EF5E9-D6C4-403A-8544-4827DB0F09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59919" y="1245415"/>
              <a:ext cx="975084" cy="438437"/>
            </a:xfrm>
            <a:prstGeom prst="rect">
              <a:avLst/>
            </a:prstGeom>
          </p:spPr>
        </p:pic>
        <p:pic>
          <p:nvPicPr>
            <p:cNvPr id="64" name="Picture 3" descr="P:\BMWi-39 Csells_eV\8.Abbildungen\Logos\Gesamtprojekt\Logo_CMYK_Csells.jpg">
              <a:extLst>
                <a:ext uri="{FF2B5EF4-FFF2-40B4-BE49-F238E27FC236}">
                  <a16:creationId xmlns:a16="http://schemas.microsoft.com/office/drawing/2014/main" id="{70EBF8B5-FD3A-4890-8E93-C5C2F7E51B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6646" y="1697519"/>
              <a:ext cx="550119" cy="3133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5" name="Grafik 64">
              <a:extLst>
                <a:ext uri="{FF2B5EF4-FFF2-40B4-BE49-F238E27FC236}">
                  <a16:creationId xmlns:a16="http://schemas.microsoft.com/office/drawing/2014/main" id="{24553189-8EF8-45EE-9EE8-78D50788A5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133" t="30734" r="7703" b="42938"/>
            <a:stretch/>
          </p:blipFill>
          <p:spPr>
            <a:xfrm>
              <a:off x="2803053" y="1697519"/>
              <a:ext cx="897160" cy="284021"/>
            </a:xfrm>
            <a:prstGeom prst="rect">
              <a:avLst/>
            </a:prstGeom>
          </p:spPr>
        </p:pic>
        <p:pic>
          <p:nvPicPr>
            <p:cNvPr id="62" name="Picture 2" descr="P:\BMWi-30 MONA_eV\8. Abbildungen\MONA Logo\MONA Logo.png">
              <a:extLst>
                <a:ext uri="{FF2B5EF4-FFF2-40B4-BE49-F238E27FC236}">
                  <a16:creationId xmlns:a16="http://schemas.microsoft.com/office/drawing/2014/main" id="{14F3EF85-745C-4EA3-A6BE-4FE18D2CFA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3903" y="1278980"/>
              <a:ext cx="382550" cy="3664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C4A980E2-C336-42CC-81C6-75949C6764C1}"/>
                </a:ext>
              </a:extLst>
            </p:cNvPr>
            <p:cNvSpPr/>
            <p:nvPr/>
          </p:nvSpPr>
          <p:spPr>
            <a:xfrm>
              <a:off x="1528328" y="1801937"/>
              <a:ext cx="108000" cy="10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Multiplikationszeichen 66">
              <a:extLst>
                <a:ext uri="{FF2B5EF4-FFF2-40B4-BE49-F238E27FC236}">
                  <a16:creationId xmlns:a16="http://schemas.microsoft.com/office/drawing/2014/main" id="{A83BD281-BF19-4830-A8AA-715FDD4B798E}"/>
                </a:ext>
              </a:extLst>
            </p:cNvPr>
            <p:cNvSpPr/>
            <p:nvPr/>
          </p:nvSpPr>
          <p:spPr>
            <a:xfrm>
              <a:off x="2599544" y="1783937"/>
              <a:ext cx="144000" cy="144000"/>
            </a:xfrm>
            <a:prstGeom prst="mathMultiply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Gleichschenkliges Dreieck 67">
              <a:extLst>
                <a:ext uri="{FF2B5EF4-FFF2-40B4-BE49-F238E27FC236}">
                  <a16:creationId xmlns:a16="http://schemas.microsoft.com/office/drawing/2014/main" id="{5F50AE2E-93D9-427E-99D4-583410B081CF}"/>
                </a:ext>
              </a:extLst>
            </p:cNvPr>
            <p:cNvSpPr/>
            <p:nvPr/>
          </p:nvSpPr>
          <p:spPr>
            <a:xfrm>
              <a:off x="2597659" y="1408954"/>
              <a:ext cx="144000" cy="144000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CDAB0EE0-8B7C-4E0B-9171-E861280C0E3A}"/>
                </a:ext>
              </a:extLst>
            </p:cNvPr>
            <p:cNvSpPr/>
            <p:nvPr/>
          </p:nvSpPr>
          <p:spPr>
            <a:xfrm>
              <a:off x="1528328" y="1426954"/>
              <a:ext cx="108000" cy="10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0" name="Rechteck 69">
            <a:extLst>
              <a:ext uri="{FF2B5EF4-FFF2-40B4-BE49-F238E27FC236}">
                <a16:creationId xmlns:a16="http://schemas.microsoft.com/office/drawing/2014/main" id="{7699BFFC-115A-49F6-85A2-F1F10D9D0EB2}"/>
              </a:ext>
            </a:extLst>
          </p:cNvPr>
          <p:cNvSpPr/>
          <p:nvPr/>
        </p:nvSpPr>
        <p:spPr>
          <a:xfrm>
            <a:off x="5833723" y="2258282"/>
            <a:ext cx="5400000" cy="3960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4FB10193-8191-45EA-A3AB-D70E4859AF89}"/>
              </a:ext>
            </a:extLst>
          </p:cNvPr>
          <p:cNvSpPr/>
          <p:nvPr/>
        </p:nvSpPr>
        <p:spPr>
          <a:xfrm>
            <a:off x="5833723" y="1491542"/>
            <a:ext cx="5400000" cy="720000"/>
          </a:xfrm>
          <a:prstGeom prst="rect">
            <a:avLst/>
          </a:prstGeom>
          <a:solidFill>
            <a:srgbClr val="51515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lastung</a:t>
            </a:r>
          </a:p>
          <a:p>
            <a:pPr algn="ctr"/>
            <a:r>
              <a:rPr lang="de-D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real		generisch/typisch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DAA67F6A-225A-435D-9715-39F67C1451FC}"/>
              </a:ext>
            </a:extLst>
          </p:cNvPr>
          <p:cNvSpPr/>
          <p:nvPr/>
        </p:nvSpPr>
        <p:spPr>
          <a:xfrm>
            <a:off x="5076097" y="2258282"/>
            <a:ext cx="720000" cy="3960000"/>
          </a:xfrm>
          <a:prstGeom prst="rect">
            <a:avLst/>
          </a:prstGeom>
          <a:solidFill>
            <a:srgbClr val="51515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ztopologie</a:t>
            </a:r>
          </a:p>
          <a:p>
            <a:pPr algn="ctr"/>
            <a:r>
              <a:rPr lang="de-D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isch/typisch  	real	</a:t>
            </a:r>
          </a:p>
        </p:txBody>
      </p: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A8ADFBED-D988-444A-9C02-7DED08F6ABB5}"/>
              </a:ext>
            </a:extLst>
          </p:cNvPr>
          <p:cNvCxnSpPr>
            <a:cxnSpLocks/>
            <a:stCxn id="70" idx="0"/>
            <a:endCxn id="70" idx="2"/>
          </p:cNvCxnSpPr>
          <p:nvPr/>
        </p:nvCxnSpPr>
        <p:spPr>
          <a:xfrm>
            <a:off x="8533723" y="2258282"/>
            <a:ext cx="0" cy="396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310EE4A9-656C-450C-B3A5-5B8B870BF212}"/>
              </a:ext>
            </a:extLst>
          </p:cNvPr>
          <p:cNvCxnSpPr>
            <a:cxnSpLocks/>
            <a:stCxn id="70" idx="3"/>
            <a:endCxn id="70" idx="1"/>
          </p:cNvCxnSpPr>
          <p:nvPr/>
        </p:nvCxnSpPr>
        <p:spPr>
          <a:xfrm flipH="1">
            <a:off x="5833723" y="4238282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2" descr="P:\BMWi-30 MONA_eV\8. Abbildungen\MONA Logo\MONA Logo.png">
            <a:extLst>
              <a:ext uri="{FF2B5EF4-FFF2-40B4-BE49-F238E27FC236}">
                <a16:creationId xmlns:a16="http://schemas.microsoft.com/office/drawing/2014/main" id="{8F647270-F5EC-4CA6-AD23-238EDC0E0A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1722" y="3968282"/>
            <a:ext cx="563665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Grafik 75">
            <a:extLst>
              <a:ext uri="{FF2B5EF4-FFF2-40B4-BE49-F238E27FC236}">
                <a16:creationId xmlns:a16="http://schemas.microsoft.com/office/drawing/2014/main" id="{424B288B-5EFF-4F3E-A95F-10236D040D3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3554" y="5463486"/>
            <a:ext cx="1200960" cy="540000"/>
          </a:xfrm>
          <a:prstGeom prst="rect">
            <a:avLst/>
          </a:prstGeom>
        </p:spPr>
      </p:pic>
      <p:grpSp>
        <p:nvGrpSpPr>
          <p:cNvPr id="77" name="Gruppieren 76">
            <a:extLst>
              <a:ext uri="{FF2B5EF4-FFF2-40B4-BE49-F238E27FC236}">
                <a16:creationId xmlns:a16="http://schemas.microsoft.com/office/drawing/2014/main" id="{677654FB-B333-4D04-A1DA-3AEF96FE0265}"/>
              </a:ext>
            </a:extLst>
          </p:cNvPr>
          <p:cNvGrpSpPr>
            <a:grpSpLocks noChangeAspect="1"/>
          </p:cNvGrpSpPr>
          <p:nvPr/>
        </p:nvGrpSpPr>
        <p:grpSpPr>
          <a:xfrm>
            <a:off x="5898060" y="2310591"/>
            <a:ext cx="1044000" cy="977311"/>
            <a:chOff x="3423948" y="1776975"/>
            <a:chExt cx="1561939" cy="1462161"/>
          </a:xfrm>
        </p:grpSpPr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704017F5-A1E4-4D03-A1DE-AAFDBF0FE42C}"/>
                </a:ext>
              </a:extLst>
            </p:cNvPr>
            <p:cNvSpPr/>
            <p:nvPr/>
          </p:nvSpPr>
          <p:spPr>
            <a:xfrm>
              <a:off x="3423948" y="1776975"/>
              <a:ext cx="1561939" cy="1438276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9" name="Picture 3" descr="P:\BMWi-39 Csells_eV\8.Abbildungen\Logos\Gesamtprojekt\Logo_CMYK_Csells.jpg">
              <a:extLst>
                <a:ext uri="{FF2B5EF4-FFF2-40B4-BE49-F238E27FC236}">
                  <a16:creationId xmlns:a16="http://schemas.microsoft.com/office/drawing/2014/main" id="{C88CB92E-695E-4F11-A62E-29AFFAC13E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9398" y="2102132"/>
              <a:ext cx="884820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DA9B1F5A-BAEF-468D-AFEA-4F817FBC1D8C}"/>
                </a:ext>
              </a:extLst>
            </p:cNvPr>
            <p:cNvGrpSpPr/>
            <p:nvPr/>
          </p:nvGrpSpPr>
          <p:grpSpPr>
            <a:xfrm>
              <a:off x="3515705" y="2633148"/>
              <a:ext cx="1372206" cy="605988"/>
              <a:chOff x="1886045" y="4018926"/>
              <a:chExt cx="1372206" cy="605988"/>
            </a:xfrm>
          </p:grpSpPr>
          <p:pic>
            <p:nvPicPr>
              <p:cNvPr id="81" name="Grafik 80">
                <a:extLst>
                  <a:ext uri="{FF2B5EF4-FFF2-40B4-BE49-F238E27FC236}">
                    <a16:creationId xmlns:a16="http://schemas.microsoft.com/office/drawing/2014/main" id="{C38171C7-3CED-4911-A3B4-4F47CBDF517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133" t="30734" r="7703" b="42938"/>
              <a:stretch/>
            </p:blipFill>
            <p:spPr>
              <a:xfrm>
                <a:off x="1886045" y="4018926"/>
                <a:ext cx="1372206" cy="434408"/>
              </a:xfrm>
              <a:prstGeom prst="rect">
                <a:avLst/>
              </a:prstGeom>
            </p:spPr>
          </p:pic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900CC8C5-7EAD-46BA-BD48-46BC39C1A550}"/>
                  </a:ext>
                </a:extLst>
              </p:cNvPr>
              <p:cNvSpPr txBox="1"/>
              <p:nvPr/>
            </p:nvSpPr>
            <p:spPr>
              <a:xfrm>
                <a:off x="2306985" y="4348634"/>
                <a:ext cx="501718" cy="27628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DL</a:t>
                </a:r>
              </a:p>
            </p:txBody>
          </p:sp>
        </p:grpSp>
      </p:grpSp>
      <p:sp>
        <p:nvSpPr>
          <p:cNvPr id="83" name="Textfeld 82">
            <a:extLst>
              <a:ext uri="{FF2B5EF4-FFF2-40B4-BE49-F238E27FC236}">
                <a16:creationId xmlns:a16="http://schemas.microsoft.com/office/drawing/2014/main" id="{38F55887-B9FE-4222-8C82-4838343D7E3A}"/>
              </a:ext>
            </a:extLst>
          </p:cNvPr>
          <p:cNvSpPr txBox="1"/>
          <p:nvPr/>
        </p:nvSpPr>
        <p:spPr>
          <a:xfrm>
            <a:off x="6041103" y="2284269"/>
            <a:ext cx="76174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Quo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54A1108-8947-4879-A3D4-9B1CE50E1EF1}"/>
              </a:ext>
            </a:extLst>
          </p:cNvPr>
          <p:cNvGrpSpPr/>
          <p:nvPr/>
        </p:nvGrpSpPr>
        <p:grpSpPr>
          <a:xfrm>
            <a:off x="6942060" y="2290433"/>
            <a:ext cx="2153006" cy="998293"/>
            <a:chOff x="6942060" y="2290433"/>
            <a:chExt cx="2153006" cy="998293"/>
          </a:xfrm>
        </p:grpSpPr>
        <p:cxnSp>
          <p:nvCxnSpPr>
            <p:cNvPr id="84" name="Gerade Verbindung mit Pfeil 83">
              <a:extLst>
                <a:ext uri="{FF2B5EF4-FFF2-40B4-BE49-F238E27FC236}">
                  <a16:creationId xmlns:a16="http://schemas.microsoft.com/office/drawing/2014/main" id="{A8723D91-212E-4F0A-AEE5-43C7711057B4}"/>
                </a:ext>
              </a:extLst>
            </p:cNvPr>
            <p:cNvCxnSpPr>
              <a:cxnSpLocks/>
              <a:stCxn id="78" idx="3"/>
              <a:endCxn id="86" idx="1"/>
            </p:cNvCxnSpPr>
            <p:nvPr/>
          </p:nvCxnSpPr>
          <p:spPr>
            <a:xfrm>
              <a:off x="6942060" y="2791264"/>
              <a:ext cx="1069663" cy="824"/>
            </a:xfrm>
            <a:prstGeom prst="straightConnector1">
              <a:avLst/>
            </a:prstGeom>
            <a:noFill/>
            <a:ln w="6350">
              <a:solidFill>
                <a:schemeClr val="tx1"/>
              </a:solidFill>
              <a:prstDash val="dash"/>
              <a:headEnd type="none" w="med" len="med"/>
              <a:tailEnd type="arrow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5" name="Gruppieren 84">
              <a:extLst>
                <a:ext uri="{FF2B5EF4-FFF2-40B4-BE49-F238E27FC236}">
                  <a16:creationId xmlns:a16="http://schemas.microsoft.com/office/drawing/2014/main" id="{EC1AC1EE-17A8-4D00-A2F6-F616FA9B816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11723" y="2311415"/>
              <a:ext cx="1044000" cy="977311"/>
              <a:chOff x="3423948" y="1776975"/>
              <a:chExt cx="1561939" cy="1462161"/>
            </a:xfrm>
            <a:noFill/>
          </p:grpSpPr>
          <p:sp>
            <p:nvSpPr>
              <p:cNvPr id="86" name="Rechteck 85">
                <a:extLst>
                  <a:ext uri="{FF2B5EF4-FFF2-40B4-BE49-F238E27FC236}">
                    <a16:creationId xmlns:a16="http://schemas.microsoft.com/office/drawing/2014/main" id="{DAD625D6-D003-42E9-A5BC-771B1685FFA2}"/>
                  </a:ext>
                </a:extLst>
              </p:cNvPr>
              <p:cNvSpPr/>
              <p:nvPr/>
            </p:nvSpPr>
            <p:spPr>
              <a:xfrm>
                <a:off x="3423948" y="1776975"/>
                <a:ext cx="1561939" cy="143827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9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87" name="Picture 3" descr="P:\BMWi-39 Csells_eV\8.Abbildungen\Logos\Gesamtprojekt\Logo_CMYK_Csells.jpg">
                <a:extLst>
                  <a:ext uri="{FF2B5EF4-FFF2-40B4-BE49-F238E27FC236}">
                    <a16:creationId xmlns:a16="http://schemas.microsoft.com/office/drawing/2014/main" id="{E4C82764-DA36-4653-AB86-D484AF65550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59398" y="2102132"/>
                <a:ext cx="884820" cy="504000"/>
              </a:xfrm>
              <a:prstGeom prst="rect">
                <a:avLst/>
              </a:prstGeom>
              <a:grpFill/>
            </p:spPr>
          </p:pic>
          <p:grpSp>
            <p:nvGrpSpPr>
              <p:cNvPr id="88" name="Gruppieren 87">
                <a:extLst>
                  <a:ext uri="{FF2B5EF4-FFF2-40B4-BE49-F238E27FC236}">
                    <a16:creationId xmlns:a16="http://schemas.microsoft.com/office/drawing/2014/main" id="{AE3DF7E3-6C7F-42F2-8365-3333BEA7B5BE}"/>
                  </a:ext>
                </a:extLst>
              </p:cNvPr>
              <p:cNvGrpSpPr/>
              <p:nvPr/>
            </p:nvGrpSpPr>
            <p:grpSpPr>
              <a:xfrm>
                <a:off x="3515705" y="2633148"/>
                <a:ext cx="1372206" cy="605988"/>
                <a:chOff x="1886045" y="4018926"/>
                <a:chExt cx="1372206" cy="605988"/>
              </a:xfrm>
              <a:grpFill/>
            </p:grpSpPr>
            <p:pic>
              <p:nvPicPr>
                <p:cNvPr id="89" name="Grafik 88">
                  <a:extLst>
                    <a:ext uri="{FF2B5EF4-FFF2-40B4-BE49-F238E27FC236}">
                      <a16:creationId xmlns:a16="http://schemas.microsoft.com/office/drawing/2014/main" id="{47ED964F-0B90-4691-9D8A-759B163E26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9133" t="30734" r="7703" b="42938"/>
                <a:stretch/>
              </p:blipFill>
              <p:spPr>
                <a:xfrm>
                  <a:off x="1886045" y="4018926"/>
                  <a:ext cx="1372206" cy="434408"/>
                </a:xfrm>
                <a:prstGeom prst="rect">
                  <a:avLst/>
                </a:prstGeom>
                <a:grpFill/>
              </p:spPr>
            </p:pic>
            <p:sp>
              <p:nvSpPr>
                <p:cNvPr id="90" name="Textfeld 89">
                  <a:extLst>
                    <a:ext uri="{FF2B5EF4-FFF2-40B4-BE49-F238E27FC236}">
                      <a16:creationId xmlns:a16="http://schemas.microsoft.com/office/drawing/2014/main" id="{833D5998-728B-4F1D-AD9F-80241BB591F6}"/>
                    </a:ext>
                  </a:extLst>
                </p:cNvPr>
                <p:cNvSpPr txBox="1"/>
                <p:nvPr/>
              </p:nvSpPr>
              <p:spPr>
                <a:xfrm>
                  <a:off x="2306985" y="4348634"/>
                  <a:ext cx="501718" cy="276280"/>
                </a:xfrm>
                <a:prstGeom prst="rect">
                  <a:avLst/>
                </a:prstGeom>
                <a:grp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de-DE" sz="6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DL</a:t>
                  </a:r>
                </a:p>
              </p:txBody>
            </p:sp>
          </p:grpSp>
        </p:grpSp>
        <p:sp>
          <p:nvSpPr>
            <p:cNvPr id="91" name="Textfeld 90">
              <a:extLst>
                <a:ext uri="{FF2B5EF4-FFF2-40B4-BE49-F238E27FC236}">
                  <a16:creationId xmlns:a16="http://schemas.microsoft.com/office/drawing/2014/main" id="{16E293F1-7696-4071-9857-492A2F871399}"/>
                </a:ext>
              </a:extLst>
            </p:cNvPr>
            <p:cNvSpPr txBox="1"/>
            <p:nvPr/>
          </p:nvSpPr>
          <p:spPr>
            <a:xfrm>
              <a:off x="7968221" y="2290433"/>
              <a:ext cx="112684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ukunftsszenarien</a:t>
              </a:r>
            </a:p>
          </p:txBody>
        </p:sp>
      </p:grpSp>
      <p:sp>
        <p:nvSpPr>
          <p:cNvPr id="11" name="Rechteck 10">
            <a:extLst>
              <a:ext uri="{FF2B5EF4-FFF2-40B4-BE49-F238E27FC236}">
                <a16:creationId xmlns:a16="http://schemas.microsoft.com/office/drawing/2014/main" id="{255C6789-482B-485A-AEF2-9C8EA82B5CB2}"/>
              </a:ext>
            </a:extLst>
          </p:cNvPr>
          <p:cNvSpPr/>
          <p:nvPr/>
        </p:nvSpPr>
        <p:spPr>
          <a:xfrm>
            <a:off x="1358900" y="1466850"/>
            <a:ext cx="2520950" cy="9487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4833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71" grpId="0" animBg="1"/>
      <p:bldP spid="72" grpId="0" animBg="1"/>
      <p:bldP spid="8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vY0BEW9KW3a8K7J3P2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xsAglmFVgFsDi1VG_Xm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itel">
  <a:themeElements>
    <a:clrScheme name="Ff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56CA5"/>
      </a:accent1>
      <a:accent2>
        <a:srgbClr val="F7D507"/>
      </a:accent2>
      <a:accent3>
        <a:srgbClr val="8AB5E1"/>
      </a:accent3>
      <a:accent4>
        <a:srgbClr val="AB2626"/>
      </a:accent4>
      <a:accent5>
        <a:srgbClr val="1F4E79"/>
      </a:accent5>
      <a:accent6>
        <a:srgbClr val="EC9302"/>
      </a:accent6>
      <a:hlink>
        <a:srgbClr val="0563C1"/>
      </a:hlink>
      <a:folHlink>
        <a:srgbClr val="954F72"/>
      </a:folHlink>
    </a:clrScheme>
    <a:fontScheme name="Semilight">
      <a:majorFont>
        <a:latin typeface="Segoe UI Semilight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tandardfarbpalette 1">
      <a:srgbClr val="356CA5"/>
    </a:custClr>
    <a:custClr name="Standardfarbpalette 2">
      <a:srgbClr val="F7D507"/>
    </a:custClr>
    <a:custClr name="Standardfarbpalette 3">
      <a:srgbClr val="8AB5E1"/>
    </a:custClr>
    <a:custClr name="Standardfarbpalette 4">
      <a:srgbClr val="AB2626"/>
    </a:custClr>
    <a:custClr name="Standardfarbpalette 5">
      <a:srgbClr val="1F4E79"/>
    </a:custClr>
    <a:custClr name="Standardfarbpalette 6">
      <a:srgbClr val="EC9302"/>
    </a:custClr>
    <a:custClr name="Standardfarbpalette 7">
      <a:srgbClr val="7A1C1C"/>
    </a:custClr>
    <a:custClr name="blank">
      <a:srgbClr val="FFFFFF"/>
    </a:custClr>
    <a:custClr name="blank">
      <a:srgbClr val="FFFFFF"/>
    </a:custClr>
    <a:custClr name="blank">
      <a:srgbClr val="FFFFFF"/>
    </a:custClr>
    <a:custClr name="1A">
      <a:srgbClr val="1F4E79"/>
    </a:custClr>
    <a:custClr name="1B">
      <a:srgbClr val="356CA5"/>
    </a:custClr>
    <a:custClr name="1C">
      <a:srgbClr val="3795D5"/>
    </a:custClr>
    <a:custClr name="1D">
      <a:srgbClr val="8AB5E1"/>
    </a:custClr>
    <a:custClr name="1E">
      <a:srgbClr val="D7E6F5"/>
    </a:custClr>
    <a:custClr name="2A">
      <a:srgbClr val="7E6D04"/>
    </a:custClr>
    <a:custClr name="2B">
      <a:srgbClr val="BFA405"/>
    </a:custClr>
    <a:custClr name="2C">
      <a:srgbClr val="F7D507"/>
    </a:custClr>
    <a:custClr name="2D">
      <a:srgbClr val="FBE875"/>
    </a:custClr>
    <a:custClr name="2E">
      <a:srgbClr val="FEF2B0"/>
    </a:custClr>
    <a:custClr name="3A">
      <a:srgbClr val="7A1C1C"/>
    </a:custClr>
    <a:custClr name="3B">
      <a:srgbClr val="AB2626"/>
    </a:custClr>
    <a:custClr name="3C">
      <a:srgbClr val="DD2525"/>
    </a:custClr>
    <a:custClr name="3D">
      <a:srgbClr val="EB8585"/>
    </a:custClr>
    <a:custClr name="3E">
      <a:srgbClr val="F5D7D7"/>
    </a:custClr>
    <a:custClr name="4A">
      <a:srgbClr val="794B01"/>
    </a:custClr>
    <a:custClr name="4B">
      <a:srgbClr val="B77201"/>
    </a:custClr>
    <a:custClr name="4C">
      <a:srgbClr val="EC9302"/>
    </a:custClr>
    <a:custClr name="4D">
      <a:srgbClr val="FEC05C"/>
    </a:custClr>
    <a:custClr name="4E">
      <a:srgbClr val="FEE2B4"/>
    </a:custClr>
    <a:custClr name="5A">
      <a:srgbClr val="41641A"/>
    </a:custClr>
    <a:custClr name="5B">
      <a:srgbClr val="639729"/>
    </a:custClr>
    <a:custClr name="5C">
      <a:srgbClr val="92D050"/>
    </a:custClr>
    <a:custClr name="5D">
      <a:srgbClr val="B9E38A"/>
    </a:custClr>
    <a:custClr name="5E">
      <a:srgbClr val="D8EFBF"/>
    </a:custClr>
    <a:custClr name="0A">
      <a:srgbClr val="515151"/>
    </a:custClr>
    <a:custClr name="0B">
      <a:srgbClr val="777777"/>
    </a:custClr>
    <a:custClr name="0C">
      <a:srgbClr val="A3A3A3"/>
    </a:custClr>
    <a:custClr name="0D">
      <a:srgbClr val="C4C4C4"/>
    </a:custClr>
    <a:custClr name="0E">
      <a:srgbClr val="E0E0E0"/>
    </a:custClr>
  </a:custClrLst>
  <a:extLst>
    <a:ext uri="{05A4C25C-085E-4340-85A3-A5531E510DB2}">
      <thm15:themeFamily xmlns:thm15="http://schemas.microsoft.com/office/thememl/2012/main" name="2021_Powerpoint_Master_FfE_16x9.potx" id="{1C0D7004-86CC-4681-B240-EC583D1576CD}" vid="{80B65C93-93E4-46A1-A1CE-FBFC036ED26B}"/>
    </a:ext>
  </a:extLst>
</a:theme>
</file>

<file path=ppt/theme/theme2.xml><?xml version="1.0" encoding="utf-8"?>
<a:theme xmlns:a="http://schemas.openxmlformats.org/drawingml/2006/main" name="2_Inhalte_Standard">
  <a:themeElements>
    <a:clrScheme name="Farbwahl_FF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56CA5"/>
      </a:accent1>
      <a:accent2>
        <a:srgbClr val="F7D507"/>
      </a:accent2>
      <a:accent3>
        <a:srgbClr val="8AB5E1"/>
      </a:accent3>
      <a:accent4>
        <a:srgbClr val="B42E2E"/>
      </a:accent4>
      <a:accent5>
        <a:srgbClr val="1F4E79"/>
      </a:accent5>
      <a:accent6>
        <a:srgbClr val="EC9302"/>
      </a:accent6>
      <a:hlink>
        <a:srgbClr val="0563C1"/>
      </a:hlink>
      <a:folHlink>
        <a:srgbClr val="954F72"/>
      </a:folHlink>
    </a:clrScheme>
    <a:fontScheme name="Semilight">
      <a:majorFont>
        <a:latin typeface="Segoe UI Semilight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tandardfarbpalette 1">
      <a:srgbClr val="356CA5"/>
    </a:custClr>
    <a:custClr name="Standardfarbpalette 2">
      <a:srgbClr val="F7D507"/>
    </a:custClr>
    <a:custClr name="Standardfarbpalette 3">
      <a:srgbClr val="8AB5E1"/>
    </a:custClr>
    <a:custClr name="Standardfarbpalette 4">
      <a:srgbClr val="AB2626"/>
    </a:custClr>
    <a:custClr name="Standardfarbpalette 5">
      <a:srgbClr val="1F4E79"/>
    </a:custClr>
    <a:custClr name="Standardfarbpalette 6">
      <a:srgbClr val="EC9302"/>
    </a:custClr>
    <a:custClr name="Standardfarbpalette 7">
      <a:srgbClr val="7A1C1C"/>
    </a:custClr>
    <a:custClr name="blank">
      <a:srgbClr val="FFFFFF"/>
    </a:custClr>
    <a:custClr name="blank">
      <a:srgbClr val="FFFFFF"/>
    </a:custClr>
    <a:custClr name="blank">
      <a:srgbClr val="FFFFFF"/>
    </a:custClr>
    <a:custClr name="1A">
      <a:srgbClr val="1F4E79"/>
    </a:custClr>
    <a:custClr name="1B">
      <a:srgbClr val="356CA5"/>
    </a:custClr>
    <a:custClr name="1C">
      <a:srgbClr val="3795D5"/>
    </a:custClr>
    <a:custClr name="1D">
      <a:srgbClr val="8AB5E1"/>
    </a:custClr>
    <a:custClr name="1E">
      <a:srgbClr val="D7E6F5"/>
    </a:custClr>
    <a:custClr name="2A">
      <a:srgbClr val="7E6D04"/>
    </a:custClr>
    <a:custClr name="2B">
      <a:srgbClr val="BFA405"/>
    </a:custClr>
    <a:custClr name="2C">
      <a:srgbClr val="F7D507"/>
    </a:custClr>
    <a:custClr name="2D">
      <a:srgbClr val="FBE875"/>
    </a:custClr>
    <a:custClr name="2E">
      <a:srgbClr val="FEF2B0"/>
    </a:custClr>
    <a:custClr name="3A">
      <a:srgbClr val="7A1C1C"/>
    </a:custClr>
    <a:custClr name="3B">
      <a:srgbClr val="AB2626"/>
    </a:custClr>
    <a:custClr name="3C">
      <a:srgbClr val="DD2525"/>
    </a:custClr>
    <a:custClr name="3D">
      <a:srgbClr val="EB8585"/>
    </a:custClr>
    <a:custClr name="3E">
      <a:srgbClr val="F5D7D7"/>
    </a:custClr>
    <a:custClr name="4A">
      <a:srgbClr val="794B01"/>
    </a:custClr>
    <a:custClr name="4B">
      <a:srgbClr val="B77201"/>
    </a:custClr>
    <a:custClr name="4C">
      <a:srgbClr val="EC9302"/>
    </a:custClr>
    <a:custClr name="4D">
      <a:srgbClr val="FEC05C"/>
    </a:custClr>
    <a:custClr name="4E">
      <a:srgbClr val="FEE2B4"/>
    </a:custClr>
    <a:custClr name="5A">
      <a:srgbClr val="41641A"/>
    </a:custClr>
    <a:custClr name="5B">
      <a:srgbClr val="639729"/>
    </a:custClr>
    <a:custClr name="5C">
      <a:srgbClr val="92D050"/>
    </a:custClr>
    <a:custClr name="5D">
      <a:srgbClr val="B9E38A"/>
    </a:custClr>
    <a:custClr name="5E">
      <a:srgbClr val="D8EFBF"/>
    </a:custClr>
    <a:custClr name="0A">
      <a:srgbClr val="515151"/>
    </a:custClr>
    <a:custClr name="0B">
      <a:srgbClr val="777777"/>
    </a:custClr>
    <a:custClr name="0C">
      <a:srgbClr val="A3A3A3"/>
    </a:custClr>
    <a:custClr name="0D">
      <a:srgbClr val="C4C4C4"/>
    </a:custClr>
    <a:custClr name="0E">
      <a:srgbClr val="E0E0E0"/>
    </a:custClr>
  </a:custClrLst>
  <a:extLst>
    <a:ext uri="{05A4C25C-085E-4340-85A3-A5531E510DB2}">
      <thm15:themeFamily xmlns:thm15="http://schemas.microsoft.com/office/thememl/2012/main" name="2021_Powerpoint_Master_FfE_16x9.potx" id="{1C0D7004-86CC-4681-B240-EC583D1576CD}" vid="{F120FFFC-CE4C-473C-8BB7-8104A7CC30D6}"/>
    </a:ext>
  </a:extLst>
</a:theme>
</file>

<file path=ppt/theme/theme3.xml><?xml version="1.0" encoding="utf-8"?>
<a:theme xmlns:a="http://schemas.openxmlformats.org/drawingml/2006/main" name="3_Kapiteltrenner">
  <a:themeElements>
    <a:clrScheme name="Farbwahl_FF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56CA5"/>
      </a:accent1>
      <a:accent2>
        <a:srgbClr val="F7D507"/>
      </a:accent2>
      <a:accent3>
        <a:srgbClr val="8AB5E1"/>
      </a:accent3>
      <a:accent4>
        <a:srgbClr val="B42E2E"/>
      </a:accent4>
      <a:accent5>
        <a:srgbClr val="1F4E79"/>
      </a:accent5>
      <a:accent6>
        <a:srgbClr val="EC9302"/>
      </a:accent6>
      <a:hlink>
        <a:srgbClr val="0563C1"/>
      </a:hlink>
      <a:folHlink>
        <a:srgbClr val="954F72"/>
      </a:folHlink>
    </a:clrScheme>
    <a:fontScheme name="Semilight">
      <a:majorFont>
        <a:latin typeface="Segoe UI Semilight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tandardfarbpalette 1">
      <a:srgbClr val="356CA5"/>
    </a:custClr>
    <a:custClr name="Standardfarbpalette 2">
      <a:srgbClr val="F7D507"/>
    </a:custClr>
    <a:custClr name="Standardfarbpalette 3">
      <a:srgbClr val="8AB5E1"/>
    </a:custClr>
    <a:custClr name="Standardfarbpalette 4">
      <a:srgbClr val="AB2626"/>
    </a:custClr>
    <a:custClr name="Standardfarbpalette 5">
      <a:srgbClr val="1F4E79"/>
    </a:custClr>
    <a:custClr name="Standardfarbpalette 6">
      <a:srgbClr val="EC9302"/>
    </a:custClr>
    <a:custClr name="Standardfarbpalette 7">
      <a:srgbClr val="7A1C1C"/>
    </a:custClr>
    <a:custClr name="blank">
      <a:srgbClr val="FFFFFF"/>
    </a:custClr>
    <a:custClr name="blank">
      <a:srgbClr val="FFFFFF"/>
    </a:custClr>
    <a:custClr name="blank">
      <a:srgbClr val="FFFFFF"/>
    </a:custClr>
    <a:custClr name="1A">
      <a:srgbClr val="1F4E79"/>
    </a:custClr>
    <a:custClr name="1B">
      <a:srgbClr val="356CA5"/>
    </a:custClr>
    <a:custClr name="1C">
      <a:srgbClr val="3795D5"/>
    </a:custClr>
    <a:custClr name="1D">
      <a:srgbClr val="8AB5E1"/>
    </a:custClr>
    <a:custClr name="1E">
      <a:srgbClr val="D7E6F5"/>
    </a:custClr>
    <a:custClr name="2A">
      <a:srgbClr val="7E6D04"/>
    </a:custClr>
    <a:custClr name="2B">
      <a:srgbClr val="BFA405"/>
    </a:custClr>
    <a:custClr name="2C">
      <a:srgbClr val="F7D507"/>
    </a:custClr>
    <a:custClr name="2D">
      <a:srgbClr val="FBE875"/>
    </a:custClr>
    <a:custClr name="2E">
      <a:srgbClr val="FEF2B0"/>
    </a:custClr>
    <a:custClr name="3A">
      <a:srgbClr val="7A1C1C"/>
    </a:custClr>
    <a:custClr name="3B">
      <a:srgbClr val="AB2626"/>
    </a:custClr>
    <a:custClr name="3C">
      <a:srgbClr val="DD2525"/>
    </a:custClr>
    <a:custClr name="3D">
      <a:srgbClr val="EB8585"/>
    </a:custClr>
    <a:custClr name="3E">
      <a:srgbClr val="F5D7D7"/>
    </a:custClr>
    <a:custClr name="4A">
      <a:srgbClr val="794B01"/>
    </a:custClr>
    <a:custClr name="4B">
      <a:srgbClr val="B77201"/>
    </a:custClr>
    <a:custClr name="4C">
      <a:srgbClr val="EC9302"/>
    </a:custClr>
    <a:custClr name="4D">
      <a:srgbClr val="FEC05C"/>
    </a:custClr>
    <a:custClr name="4E">
      <a:srgbClr val="FEE2B4"/>
    </a:custClr>
    <a:custClr name="5A">
      <a:srgbClr val="41641A"/>
    </a:custClr>
    <a:custClr name="5B">
      <a:srgbClr val="639729"/>
    </a:custClr>
    <a:custClr name="5C">
      <a:srgbClr val="92D050"/>
    </a:custClr>
    <a:custClr name="5D">
      <a:srgbClr val="B9E38A"/>
    </a:custClr>
    <a:custClr name="5E">
      <a:srgbClr val="D8EFBF"/>
    </a:custClr>
    <a:custClr name="0A">
      <a:srgbClr val="515151"/>
    </a:custClr>
    <a:custClr name="0B">
      <a:srgbClr val="777777"/>
    </a:custClr>
    <a:custClr name="0C">
      <a:srgbClr val="A3A3A3"/>
    </a:custClr>
    <a:custClr name="0D">
      <a:srgbClr val="C4C4C4"/>
    </a:custClr>
    <a:custClr name="0E">
      <a:srgbClr val="E0E0E0"/>
    </a:custClr>
  </a:custClrLst>
  <a:extLst>
    <a:ext uri="{05A4C25C-085E-4340-85A3-A5531E510DB2}">
      <thm15:themeFamily xmlns:thm15="http://schemas.microsoft.com/office/thememl/2012/main" name="2021_Powerpoint_Master_FfE_16x9.potx" id="{1C0D7004-86CC-4681-B240-EC583D1576CD}" vid="{37EBEFAE-A95C-47C7-A66D-A0C8D4B6B064}"/>
    </a:ext>
  </a:extLst>
</a:theme>
</file>

<file path=ppt/theme/theme4.xml><?xml version="1.0" encoding="utf-8"?>
<a:theme xmlns:a="http://schemas.openxmlformats.org/drawingml/2006/main" name="4_Grosses_Seitenelement">
  <a:themeElements>
    <a:clrScheme name="Farbwahl_FF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56CA5"/>
      </a:accent1>
      <a:accent2>
        <a:srgbClr val="F7D507"/>
      </a:accent2>
      <a:accent3>
        <a:srgbClr val="8AB5E1"/>
      </a:accent3>
      <a:accent4>
        <a:srgbClr val="B42E2E"/>
      </a:accent4>
      <a:accent5>
        <a:srgbClr val="1F4E79"/>
      </a:accent5>
      <a:accent6>
        <a:srgbClr val="EC9302"/>
      </a:accent6>
      <a:hlink>
        <a:srgbClr val="0563C1"/>
      </a:hlink>
      <a:folHlink>
        <a:srgbClr val="954F72"/>
      </a:folHlink>
    </a:clrScheme>
    <a:fontScheme name="Semilight">
      <a:majorFont>
        <a:latin typeface="Segoe UI Semilight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Standardfarbpalette 1">
      <a:srgbClr val="356CA5"/>
    </a:custClr>
    <a:custClr name="Standardfarbpalette 2">
      <a:srgbClr val="F7D507"/>
    </a:custClr>
    <a:custClr name="Standardfarbpalette 3">
      <a:srgbClr val="8AB5E1"/>
    </a:custClr>
    <a:custClr name="Standardfarbpalette 4">
      <a:srgbClr val="AB2626"/>
    </a:custClr>
    <a:custClr name="Standardfarbpalette 5">
      <a:srgbClr val="1F4E79"/>
    </a:custClr>
    <a:custClr name="Standardfarbpalette 6">
      <a:srgbClr val="EC9302"/>
    </a:custClr>
    <a:custClr name="Standardfarbpalette 7">
      <a:srgbClr val="7A1C1C"/>
    </a:custClr>
    <a:custClr name="blank">
      <a:srgbClr val="FFFFFF"/>
    </a:custClr>
    <a:custClr name="blank">
      <a:srgbClr val="FFFFFF"/>
    </a:custClr>
    <a:custClr name="blank">
      <a:srgbClr val="FFFFFF"/>
    </a:custClr>
    <a:custClr name="1A">
      <a:srgbClr val="1F4E79"/>
    </a:custClr>
    <a:custClr name="1B">
      <a:srgbClr val="356CA5"/>
    </a:custClr>
    <a:custClr name="1C">
      <a:srgbClr val="3795D5"/>
    </a:custClr>
    <a:custClr name="1D">
      <a:srgbClr val="8AB5E1"/>
    </a:custClr>
    <a:custClr name="1E">
      <a:srgbClr val="D7E6F5"/>
    </a:custClr>
    <a:custClr name="2A">
      <a:srgbClr val="7E6D04"/>
    </a:custClr>
    <a:custClr name="2B">
      <a:srgbClr val="BFA405"/>
    </a:custClr>
    <a:custClr name="2C">
      <a:srgbClr val="F7D507"/>
    </a:custClr>
    <a:custClr name="2D">
      <a:srgbClr val="FBE875"/>
    </a:custClr>
    <a:custClr name="2E">
      <a:srgbClr val="FEF2B0"/>
    </a:custClr>
    <a:custClr name="3A">
      <a:srgbClr val="7A1C1C"/>
    </a:custClr>
    <a:custClr name="3B">
      <a:srgbClr val="AB2626"/>
    </a:custClr>
    <a:custClr name="3C">
      <a:srgbClr val="DD2525"/>
    </a:custClr>
    <a:custClr name="3D">
      <a:srgbClr val="EB8585"/>
    </a:custClr>
    <a:custClr name="3E">
      <a:srgbClr val="F5D7D7"/>
    </a:custClr>
    <a:custClr name="4A">
      <a:srgbClr val="794B01"/>
    </a:custClr>
    <a:custClr name="4B">
      <a:srgbClr val="B77201"/>
    </a:custClr>
    <a:custClr name="4C">
      <a:srgbClr val="EC9302"/>
    </a:custClr>
    <a:custClr name="4D">
      <a:srgbClr val="FEC05C"/>
    </a:custClr>
    <a:custClr name="4E">
      <a:srgbClr val="FEE2B4"/>
    </a:custClr>
    <a:custClr name="5A">
      <a:srgbClr val="41641A"/>
    </a:custClr>
    <a:custClr name="5B">
      <a:srgbClr val="639729"/>
    </a:custClr>
    <a:custClr name="5C">
      <a:srgbClr val="92D050"/>
    </a:custClr>
    <a:custClr name="5D">
      <a:srgbClr val="B9E38A"/>
    </a:custClr>
    <a:custClr name="5E">
      <a:srgbClr val="D8EFBF"/>
    </a:custClr>
    <a:custClr name="0A">
      <a:srgbClr val="515151"/>
    </a:custClr>
    <a:custClr name="0B">
      <a:srgbClr val="777777"/>
    </a:custClr>
    <a:custClr name="0C">
      <a:srgbClr val="A3A3A3"/>
    </a:custClr>
    <a:custClr name="0D">
      <a:srgbClr val="C4C4C4"/>
    </a:custClr>
    <a:custClr name="0E">
      <a:srgbClr val="E0E0E0"/>
    </a:custClr>
  </a:custClrLst>
  <a:extLst>
    <a:ext uri="{05A4C25C-085E-4340-85A3-A5531E510DB2}">
      <thm15:themeFamily xmlns:thm15="http://schemas.microsoft.com/office/thememl/2012/main" name="2021_Powerpoint_Master_FfE_16x9.potx" id="{1C0D7004-86CC-4681-B240-EC583D1576CD}" vid="{B1867CC5-8207-4887-B3BA-A3449C7FA2AC}"/>
    </a:ext>
  </a:extLst>
</a:theme>
</file>

<file path=ppt/theme/theme5.xml><?xml version="1.0" encoding="utf-8"?>
<a:theme xmlns:a="http://schemas.openxmlformats.org/drawingml/2006/main" name="5_Grosses_Seitenelement">
  <a:themeElements>
    <a:clrScheme name="Farbwahl_FF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56CA5"/>
      </a:accent1>
      <a:accent2>
        <a:srgbClr val="F7D507"/>
      </a:accent2>
      <a:accent3>
        <a:srgbClr val="8AB5E1"/>
      </a:accent3>
      <a:accent4>
        <a:srgbClr val="B42E2E"/>
      </a:accent4>
      <a:accent5>
        <a:srgbClr val="1F4E79"/>
      </a:accent5>
      <a:accent6>
        <a:srgbClr val="EC9302"/>
      </a:accent6>
      <a:hlink>
        <a:srgbClr val="0563C1"/>
      </a:hlink>
      <a:folHlink>
        <a:srgbClr val="954F72"/>
      </a:folHlink>
    </a:clrScheme>
    <a:fontScheme name="Semilight">
      <a:majorFont>
        <a:latin typeface="Segoe UI Semilight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Standardfarbpalette 1">
      <a:srgbClr val="356CA5"/>
    </a:custClr>
    <a:custClr name="Standardfarbpalette 2">
      <a:srgbClr val="F7D507"/>
    </a:custClr>
    <a:custClr name="Standardfarbpalette 3">
      <a:srgbClr val="8AB5E1"/>
    </a:custClr>
    <a:custClr name="Standardfarbpalette 4">
      <a:srgbClr val="AB2626"/>
    </a:custClr>
    <a:custClr name="Standardfarbpalette 5">
      <a:srgbClr val="1F4E79"/>
    </a:custClr>
    <a:custClr name="Standardfarbpalette 6">
      <a:srgbClr val="EC9302"/>
    </a:custClr>
    <a:custClr name="Standardfarbpalette 7">
      <a:srgbClr val="7A1C1C"/>
    </a:custClr>
    <a:custClr name="blank">
      <a:srgbClr val="FFFFFF"/>
    </a:custClr>
    <a:custClr name="blank">
      <a:srgbClr val="FFFFFF"/>
    </a:custClr>
    <a:custClr name="blank">
      <a:srgbClr val="FFFFFF"/>
    </a:custClr>
    <a:custClr name="1A">
      <a:srgbClr val="1F4E79"/>
    </a:custClr>
    <a:custClr name="1B">
      <a:srgbClr val="356CA5"/>
    </a:custClr>
    <a:custClr name="1C">
      <a:srgbClr val="3795D5"/>
    </a:custClr>
    <a:custClr name="1D">
      <a:srgbClr val="8AB5E1"/>
    </a:custClr>
    <a:custClr name="1E">
      <a:srgbClr val="D7E6F5"/>
    </a:custClr>
    <a:custClr name="2A">
      <a:srgbClr val="7E6D04"/>
    </a:custClr>
    <a:custClr name="2B">
      <a:srgbClr val="BFA405"/>
    </a:custClr>
    <a:custClr name="2C">
      <a:srgbClr val="F7D507"/>
    </a:custClr>
    <a:custClr name="2D">
      <a:srgbClr val="FBE875"/>
    </a:custClr>
    <a:custClr name="2E">
      <a:srgbClr val="FEF2B0"/>
    </a:custClr>
    <a:custClr name="3A">
      <a:srgbClr val="7A1C1C"/>
    </a:custClr>
    <a:custClr name="3B">
      <a:srgbClr val="AB2626"/>
    </a:custClr>
    <a:custClr name="3C">
      <a:srgbClr val="DD2525"/>
    </a:custClr>
    <a:custClr name="3D">
      <a:srgbClr val="EB8585"/>
    </a:custClr>
    <a:custClr name="3E">
      <a:srgbClr val="F5D7D7"/>
    </a:custClr>
    <a:custClr name="4A">
      <a:srgbClr val="794B01"/>
    </a:custClr>
    <a:custClr name="4B">
      <a:srgbClr val="B77201"/>
    </a:custClr>
    <a:custClr name="4C">
      <a:srgbClr val="EC9302"/>
    </a:custClr>
    <a:custClr name="4D">
      <a:srgbClr val="FEC05C"/>
    </a:custClr>
    <a:custClr name="4E">
      <a:srgbClr val="FEE2B4"/>
    </a:custClr>
    <a:custClr name="5A">
      <a:srgbClr val="41641A"/>
    </a:custClr>
    <a:custClr name="5B">
      <a:srgbClr val="639729"/>
    </a:custClr>
    <a:custClr name="5C">
      <a:srgbClr val="92D050"/>
    </a:custClr>
    <a:custClr name="5D">
      <a:srgbClr val="B9E38A"/>
    </a:custClr>
    <a:custClr name="5E">
      <a:srgbClr val="D8EFBF"/>
    </a:custClr>
    <a:custClr name="0A">
      <a:srgbClr val="515151"/>
    </a:custClr>
    <a:custClr name="0B">
      <a:srgbClr val="777777"/>
    </a:custClr>
    <a:custClr name="0C">
      <a:srgbClr val="A3A3A3"/>
    </a:custClr>
    <a:custClr name="0D">
      <a:srgbClr val="C4C4C4"/>
    </a:custClr>
    <a:custClr name="0E">
      <a:srgbClr val="E0E0E0"/>
    </a:custClr>
  </a:custClrLst>
  <a:extLst>
    <a:ext uri="{05A4C25C-085E-4340-85A3-A5531E510DB2}">
      <thm15:themeFamily xmlns:thm15="http://schemas.microsoft.com/office/thememl/2012/main" name="Präsentation2" id="{7B0F0433-13FB-436D-8245-F036D85AEA86}" vid="{B5B5ADB3-7D04-4587-84E2-B7E5EE879200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tandardfarbpalette 1">
      <a:srgbClr val="356CA5"/>
    </a:custClr>
    <a:custClr name="Standardfarbpalette 2">
      <a:srgbClr val="F7D507"/>
    </a:custClr>
    <a:custClr name="Standardfarbpalette 3">
      <a:srgbClr val="8AB5E1"/>
    </a:custClr>
    <a:custClr name="Standardfarbpalette 4">
      <a:srgbClr val="AB2626"/>
    </a:custClr>
    <a:custClr name="Standardfarbpalette 5">
      <a:srgbClr val="1F4E79"/>
    </a:custClr>
    <a:custClr name="Standardfarbpalette 6">
      <a:srgbClr val="EC9302"/>
    </a:custClr>
    <a:custClr name="Standardfarbpalette 7">
      <a:srgbClr val="7A1C1C"/>
    </a:custClr>
    <a:custClr name="blank">
      <a:srgbClr val="FFFFFF"/>
    </a:custClr>
    <a:custClr name="blank">
      <a:srgbClr val="FFFFFF"/>
    </a:custClr>
    <a:custClr name="blank">
      <a:srgbClr val="FFFFFF"/>
    </a:custClr>
    <a:custClr name="1A">
      <a:srgbClr val="1F4E79"/>
    </a:custClr>
    <a:custClr name="1B">
      <a:srgbClr val="356CA5"/>
    </a:custClr>
    <a:custClr name="1C">
      <a:srgbClr val="3795D5"/>
    </a:custClr>
    <a:custClr name="1D">
      <a:srgbClr val="8AB5E1"/>
    </a:custClr>
    <a:custClr name="1E">
      <a:srgbClr val="D7E6F5"/>
    </a:custClr>
    <a:custClr name="2A">
      <a:srgbClr val="7E6D04"/>
    </a:custClr>
    <a:custClr name="2B">
      <a:srgbClr val="BFA405"/>
    </a:custClr>
    <a:custClr name="2C">
      <a:srgbClr val="F7D507"/>
    </a:custClr>
    <a:custClr name="2D">
      <a:srgbClr val="FBE875"/>
    </a:custClr>
    <a:custClr name="2E">
      <a:srgbClr val="FEF2B0"/>
    </a:custClr>
    <a:custClr name="3A">
      <a:srgbClr val="7A1C1C"/>
    </a:custClr>
    <a:custClr name="3B">
      <a:srgbClr val="AB2626"/>
    </a:custClr>
    <a:custClr name="3C">
      <a:srgbClr val="DD2525"/>
    </a:custClr>
    <a:custClr name="3D">
      <a:srgbClr val="EB8585"/>
    </a:custClr>
    <a:custClr name="3E">
      <a:srgbClr val="F5D7D7"/>
    </a:custClr>
    <a:custClr name="4A">
      <a:srgbClr val="794B01"/>
    </a:custClr>
    <a:custClr name="4B">
      <a:srgbClr val="B77201"/>
    </a:custClr>
    <a:custClr name="4C">
      <a:srgbClr val="EC9302"/>
    </a:custClr>
    <a:custClr name="4D">
      <a:srgbClr val="FEC05C"/>
    </a:custClr>
    <a:custClr name="4E">
      <a:srgbClr val="FEE2B4"/>
    </a:custClr>
    <a:custClr name="5A">
      <a:srgbClr val="41641A"/>
    </a:custClr>
    <a:custClr name="5B">
      <a:srgbClr val="639729"/>
    </a:custClr>
    <a:custClr name="5C">
      <a:srgbClr val="92D050"/>
    </a:custClr>
    <a:custClr name="5D">
      <a:srgbClr val="B9E38A"/>
    </a:custClr>
    <a:custClr name="5E">
      <a:srgbClr val="D8EFBF"/>
    </a:custClr>
    <a:custClr name="0A">
      <a:srgbClr val="515151"/>
    </a:custClr>
    <a:custClr name="0B">
      <a:srgbClr val="777777"/>
    </a:custClr>
    <a:custClr name="0C">
      <a:srgbClr val="A3A3A3"/>
    </a:custClr>
    <a:custClr name="0D">
      <a:srgbClr val="C4C4C4"/>
    </a:custClr>
    <a:custClr name="0E">
      <a:srgbClr val="E0E0E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tandardfarbpalette 1">
      <a:srgbClr val="356CA5"/>
    </a:custClr>
    <a:custClr name="Standardfarbpalette 2">
      <a:srgbClr val="F7D507"/>
    </a:custClr>
    <a:custClr name="Standardfarbpalette 3">
      <a:srgbClr val="8AB5E1"/>
    </a:custClr>
    <a:custClr name="Standardfarbpalette 4">
      <a:srgbClr val="AB2626"/>
    </a:custClr>
    <a:custClr name="Standardfarbpalette 5">
      <a:srgbClr val="1F4E79"/>
    </a:custClr>
    <a:custClr name="Standardfarbpalette 6">
      <a:srgbClr val="EC9302"/>
    </a:custClr>
    <a:custClr name="Standardfarbpalette 7">
      <a:srgbClr val="7A1C1C"/>
    </a:custClr>
    <a:custClr name="blank">
      <a:srgbClr val="FFFFFF"/>
    </a:custClr>
    <a:custClr name="blank">
      <a:srgbClr val="FFFFFF"/>
    </a:custClr>
    <a:custClr name="blank">
      <a:srgbClr val="FFFFFF"/>
    </a:custClr>
    <a:custClr name="1A">
      <a:srgbClr val="1F4E79"/>
    </a:custClr>
    <a:custClr name="1B">
      <a:srgbClr val="356CA5"/>
    </a:custClr>
    <a:custClr name="1C">
      <a:srgbClr val="3795D5"/>
    </a:custClr>
    <a:custClr name="1D">
      <a:srgbClr val="8AB5E1"/>
    </a:custClr>
    <a:custClr name="1E">
      <a:srgbClr val="D7E6F5"/>
    </a:custClr>
    <a:custClr name="2A">
      <a:srgbClr val="7E6D04"/>
    </a:custClr>
    <a:custClr name="2B">
      <a:srgbClr val="BFA405"/>
    </a:custClr>
    <a:custClr name="2C">
      <a:srgbClr val="F7D507"/>
    </a:custClr>
    <a:custClr name="2D">
      <a:srgbClr val="FBE875"/>
    </a:custClr>
    <a:custClr name="2E">
      <a:srgbClr val="FEF2B0"/>
    </a:custClr>
    <a:custClr name="3A">
      <a:srgbClr val="7A1C1C"/>
    </a:custClr>
    <a:custClr name="3B">
      <a:srgbClr val="AB2626"/>
    </a:custClr>
    <a:custClr name="3C">
      <a:srgbClr val="DD2525"/>
    </a:custClr>
    <a:custClr name="3D">
      <a:srgbClr val="EB8585"/>
    </a:custClr>
    <a:custClr name="3E">
      <a:srgbClr val="F5D7D7"/>
    </a:custClr>
    <a:custClr name="4A">
      <a:srgbClr val="794B01"/>
    </a:custClr>
    <a:custClr name="4B">
      <a:srgbClr val="B77201"/>
    </a:custClr>
    <a:custClr name="4C">
      <a:srgbClr val="EC9302"/>
    </a:custClr>
    <a:custClr name="4D">
      <a:srgbClr val="FEC05C"/>
    </a:custClr>
    <a:custClr name="4E">
      <a:srgbClr val="FEE2B4"/>
    </a:custClr>
    <a:custClr name="5A">
      <a:srgbClr val="41641A"/>
    </a:custClr>
    <a:custClr name="5B">
      <a:srgbClr val="639729"/>
    </a:custClr>
    <a:custClr name="5C">
      <a:srgbClr val="92D050"/>
    </a:custClr>
    <a:custClr name="5D">
      <a:srgbClr val="B9E38A"/>
    </a:custClr>
    <a:custClr name="5E">
      <a:srgbClr val="D8EFBF"/>
    </a:custClr>
    <a:custClr name="0A">
      <a:srgbClr val="515151"/>
    </a:custClr>
    <a:custClr name="0B">
      <a:srgbClr val="777777"/>
    </a:custClr>
    <a:custClr name="0C">
      <a:srgbClr val="A3A3A3"/>
    </a:custClr>
    <a:custClr name="0D">
      <a:srgbClr val="C4C4C4"/>
    </a:custClr>
    <a:custClr name="0E">
      <a:srgbClr val="E0E0E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740BAAF2B8A26409D504D074A2C1913" ma:contentTypeVersion="10" ma:contentTypeDescription="Ein neues Dokument erstellen." ma:contentTypeScope="" ma:versionID="fef28dbb376f4c7e0eb5ad54130c6728">
  <xsd:schema xmlns:xsd="http://www.w3.org/2001/XMLSchema" xmlns:xs="http://www.w3.org/2001/XMLSchema" xmlns:p="http://schemas.microsoft.com/office/2006/metadata/properties" xmlns:ns2="091745bf-6f0e-4cae-ad4d-261da7975dd6" xmlns:ns3="380325b8-34f5-4fb2-89b2-949853daba2c" targetNamespace="http://schemas.microsoft.com/office/2006/metadata/properties" ma:root="true" ma:fieldsID="b433919b935a62f66adb2fddeafea592" ns2:_="" ns3:_="">
    <xsd:import namespace="091745bf-6f0e-4cae-ad4d-261da7975dd6"/>
    <xsd:import namespace="380325b8-34f5-4fb2-89b2-949853daba2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745bf-6f0e-4cae-ad4d-261da7975d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0325b8-34f5-4fb2-89b2-949853daba2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A7408CC-13DD-4080-AF14-7921922573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745bf-6f0e-4cae-ad4d-261da7975dd6"/>
    <ds:schemaRef ds:uri="380325b8-34f5-4fb2-89b2-949853daba2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C79D89D-CB40-4267-BA92-62EEC4046C6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5163DE5-7929-4EBF-9129-EFA20B1BD6C4}">
  <ds:schemaRefs>
    <ds:schemaRef ds:uri="http://schemas.microsoft.com/office/2006/documentManagement/types"/>
    <ds:schemaRef ds:uri="http://purl.org/dc/dcmitype/"/>
    <ds:schemaRef ds:uri="380325b8-34f5-4fb2-89b2-949853daba2c"/>
    <ds:schemaRef ds:uri="http://purl.org/dc/elements/1.1/"/>
    <ds:schemaRef ds:uri="http://schemas.microsoft.com/office/2006/metadata/properties"/>
    <ds:schemaRef ds:uri="091745bf-6f0e-4cae-ad4d-261da7975dd6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1_Powerpoint_Master_FfE_16x9</Template>
  <TotalTime>0</TotalTime>
  <Words>933</Words>
  <Application>Microsoft Office PowerPoint</Application>
  <PresentationFormat>Breitbild</PresentationFormat>
  <Paragraphs>239</Paragraphs>
  <Slides>18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8</vt:i4>
      </vt:variant>
    </vt:vector>
  </HeadingPairs>
  <TitlesOfParts>
    <vt:vector size="31" baseType="lpstr">
      <vt:lpstr>Arial</vt:lpstr>
      <vt:lpstr>Courier New</vt:lpstr>
      <vt:lpstr>Futura Lt BT</vt:lpstr>
      <vt:lpstr>Segoe UI Semilight</vt:lpstr>
      <vt:lpstr>Symbol</vt:lpstr>
      <vt:lpstr>Wingdings</vt:lpstr>
      <vt:lpstr>1_Titel</vt:lpstr>
      <vt:lpstr>2_Inhalte_Standard</vt:lpstr>
      <vt:lpstr>3_Kapiteltrenner</vt:lpstr>
      <vt:lpstr>4_Grosses_Seitenelement</vt:lpstr>
      <vt:lpstr>5_Grosses_Seitenelement</vt:lpstr>
      <vt:lpstr>think-cell Folie</vt:lpstr>
      <vt:lpstr>CorelDRAW</vt:lpstr>
      <vt:lpstr>PowerPoint-Präsentation</vt:lpstr>
      <vt:lpstr>Agenda</vt:lpstr>
      <vt:lpstr>Agenda</vt:lpstr>
      <vt:lpstr>Bearbeitete Projekte</vt:lpstr>
      <vt:lpstr>Forschungsfragen?</vt:lpstr>
      <vt:lpstr>GridSim – Übersicht</vt:lpstr>
      <vt:lpstr>Zufall im Modell</vt:lpstr>
      <vt:lpstr>Agenda</vt:lpstr>
      <vt:lpstr>Einordnung verschiedener Szenarien und Datengrundlage</vt:lpstr>
      <vt:lpstr>Nachbildung realer Systeme</vt:lpstr>
      <vt:lpstr>Generische Modellierung von Netz und Belastung</vt:lpstr>
      <vt:lpstr>Agenda</vt:lpstr>
      <vt:lpstr>Aufbau des Zufallsexperiments</vt:lpstr>
      <vt:lpstr>Statistische Auswertung verschiedener Zufallsverteilungen</vt:lpstr>
      <vt:lpstr>Experiment zur Quantifizierung notwendiger Zufallsverteilungen</vt:lpstr>
      <vt:lpstr>Experiment zur Quantifizierung notwendiger Zufallsverteilungen</vt:lpstr>
      <vt:lpstr>PowerPoint-Präsentation</vt:lpstr>
      <vt:lpstr>PowerPoint-Präsentation</vt:lpstr>
    </vt:vector>
  </TitlesOfParts>
  <Company>FFE e.V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ndreas Weiss</dc:creator>
  <cp:lastModifiedBy>Andreas Weiss</cp:lastModifiedBy>
  <cp:revision>20</cp:revision>
  <dcterms:created xsi:type="dcterms:W3CDTF">2021-08-31T07:22:04Z</dcterms:created>
  <dcterms:modified xsi:type="dcterms:W3CDTF">2021-09-06T12:22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40BAAF2B8A26409D504D074A2C1913</vt:lpwstr>
  </property>
</Properties>
</file>